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4"/>
  </p:sldMasterIdLst>
  <p:notesMasterIdLst>
    <p:notesMasterId r:id="rId13"/>
  </p:notesMasterIdLst>
  <p:handoutMasterIdLst>
    <p:handoutMasterId r:id="rId14"/>
  </p:handoutMasterIdLst>
  <p:sldIdLst>
    <p:sldId id="2598" r:id="rId5"/>
    <p:sldId id="2600" r:id="rId6"/>
    <p:sldId id="2601" r:id="rId7"/>
    <p:sldId id="2602" r:id="rId8"/>
    <p:sldId id="2604" r:id="rId9"/>
    <p:sldId id="2603" r:id="rId10"/>
    <p:sldId id="2605" r:id="rId11"/>
    <p:sldId id="931" r:id="rId12"/>
  </p:sldIdLst>
  <p:sldSz cx="12192000" cy="6858000"/>
  <p:notesSz cx="6797675" cy="9926638"/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79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E5D2"/>
    <a:srgbClr val="FFCA18"/>
    <a:srgbClr val="D4E8F1"/>
    <a:srgbClr val="EDF9FD"/>
    <a:srgbClr val="064F7C"/>
    <a:srgbClr val="3C5EA8"/>
    <a:srgbClr val="FCF6D4"/>
    <a:srgbClr val="FFFFFF"/>
    <a:srgbClr val="EAF7FC"/>
    <a:srgbClr val="E0EC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7A66664-8D7C-4537-A9EA-EC6CCF86CD3B}" v="4" dt="2023-10-10T15:54:13.0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5558" autoAdjust="0"/>
  </p:normalViewPr>
  <p:slideViewPr>
    <p:cSldViewPr snapToGrid="0">
      <p:cViewPr varScale="1">
        <p:scale>
          <a:sx n="90" d="100"/>
          <a:sy n="90" d="100"/>
        </p:scale>
        <p:origin x="1038" y="78"/>
      </p:cViewPr>
      <p:guideLst>
        <p:guide orient="horz" pos="1570"/>
        <p:guide pos="3795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A ROSA GUZMAN CARBONELL" userId="caee1ad8-0e8f-4d5e-b1f6-a4973232ef89" providerId="ADAL" clId="{27A66664-8D7C-4537-A9EA-EC6CCF86CD3B}"/>
    <pc:docChg chg="modSld">
      <pc:chgData name="ANA ROSA GUZMAN CARBONELL" userId="caee1ad8-0e8f-4d5e-b1f6-a4973232ef89" providerId="ADAL" clId="{27A66664-8D7C-4537-A9EA-EC6CCF86CD3B}" dt="2023-10-10T15:54:13.070" v="4"/>
      <pc:docMkLst>
        <pc:docMk/>
      </pc:docMkLst>
      <pc:sldChg chg="modSp mod modAnim">
        <pc:chgData name="ANA ROSA GUZMAN CARBONELL" userId="caee1ad8-0e8f-4d5e-b1f6-a4973232ef89" providerId="ADAL" clId="{27A66664-8D7C-4537-A9EA-EC6CCF86CD3B}" dt="2023-10-10T15:54:13.070" v="4"/>
        <pc:sldMkLst>
          <pc:docMk/>
          <pc:sldMk cId="1945716661" sldId="2604"/>
        </pc:sldMkLst>
        <pc:spChg chg="mod">
          <ac:chgData name="ANA ROSA GUZMAN CARBONELL" userId="caee1ad8-0e8f-4d5e-b1f6-a4973232ef89" providerId="ADAL" clId="{27A66664-8D7C-4537-A9EA-EC6CCF86CD3B}" dt="2023-10-10T15:53:34.966" v="0" actId="5793"/>
          <ac:spMkLst>
            <pc:docMk/>
            <pc:sldMk cId="1945716661" sldId="2604"/>
            <ac:spMk id="10" creationId="{90806BE5-1DCA-F96C-CD70-D93ABCEDA4A0}"/>
          </ac:spMkLst>
        </pc:spChg>
      </pc:sldChg>
    </pc:docChg>
  </pc:docChgLst>
  <pc:docChgLst>
    <pc:chgData name="ANA ROSA GUZMAN CARBONELL" userId="caee1ad8-0e8f-4d5e-b1f6-a4973232ef89" providerId="ADAL" clId="{90B2EF0D-28C7-489E-BA14-FC9B20F033DF}"/>
    <pc:docChg chg="undo custSel modSld">
      <pc:chgData name="ANA ROSA GUZMAN CARBONELL" userId="caee1ad8-0e8f-4d5e-b1f6-a4973232ef89" providerId="ADAL" clId="{90B2EF0D-28C7-489E-BA14-FC9B20F033DF}" dt="2023-09-25T11:21:33.529" v="389" actId="114"/>
      <pc:docMkLst>
        <pc:docMk/>
      </pc:docMkLst>
      <pc:sldChg chg="modSp mod">
        <pc:chgData name="ANA ROSA GUZMAN CARBONELL" userId="caee1ad8-0e8f-4d5e-b1f6-a4973232ef89" providerId="ADAL" clId="{90B2EF0D-28C7-489E-BA14-FC9B20F033DF}" dt="2023-09-25T09:57:16.815" v="275" actId="121"/>
        <pc:sldMkLst>
          <pc:docMk/>
          <pc:sldMk cId="3117448947" sldId="931"/>
        </pc:sldMkLst>
        <pc:spChg chg="mod">
          <ac:chgData name="ANA ROSA GUZMAN CARBONELL" userId="caee1ad8-0e8f-4d5e-b1f6-a4973232ef89" providerId="ADAL" clId="{90B2EF0D-28C7-489E-BA14-FC9B20F033DF}" dt="2023-09-25T09:57:16.815" v="275" actId="121"/>
          <ac:spMkLst>
            <pc:docMk/>
            <pc:sldMk cId="3117448947" sldId="931"/>
            <ac:spMk id="7" creationId="{972F8CFE-4F04-F2A2-1874-DDC8C638F6F8}"/>
          </ac:spMkLst>
        </pc:spChg>
      </pc:sldChg>
      <pc:sldChg chg="modSp mod">
        <pc:chgData name="ANA ROSA GUZMAN CARBONELL" userId="caee1ad8-0e8f-4d5e-b1f6-a4973232ef89" providerId="ADAL" clId="{90B2EF0D-28C7-489E-BA14-FC9B20F033DF}" dt="2023-09-25T11:21:33.529" v="389" actId="114"/>
        <pc:sldMkLst>
          <pc:docMk/>
          <pc:sldMk cId="1029930847" sldId="2598"/>
        </pc:sldMkLst>
        <pc:spChg chg="mod">
          <ac:chgData name="ANA ROSA GUZMAN CARBONELL" userId="caee1ad8-0e8f-4d5e-b1f6-a4973232ef89" providerId="ADAL" clId="{90B2EF0D-28C7-489E-BA14-FC9B20F033DF}" dt="2023-09-25T11:21:33.529" v="389" actId="114"/>
          <ac:spMkLst>
            <pc:docMk/>
            <pc:sldMk cId="1029930847" sldId="2598"/>
            <ac:spMk id="2" creationId="{F9211161-C033-24AB-A1F0-B3292DF79D02}"/>
          </ac:spMkLst>
        </pc:spChg>
        <pc:spChg chg="mod">
          <ac:chgData name="ANA ROSA GUZMAN CARBONELL" userId="caee1ad8-0e8f-4d5e-b1f6-a4973232ef89" providerId="ADAL" clId="{90B2EF0D-28C7-489E-BA14-FC9B20F033DF}" dt="2023-09-25T11:21:05.873" v="377" actId="1076"/>
          <ac:spMkLst>
            <pc:docMk/>
            <pc:sldMk cId="1029930847" sldId="2598"/>
            <ac:spMk id="12" creationId="{0EE2BF7A-3553-26C0-4431-C23E37ABFF7E}"/>
          </ac:spMkLst>
        </pc:spChg>
      </pc:sldChg>
      <pc:sldChg chg="modSp mod">
        <pc:chgData name="ANA ROSA GUZMAN CARBONELL" userId="caee1ad8-0e8f-4d5e-b1f6-a4973232ef89" providerId="ADAL" clId="{90B2EF0D-28C7-489E-BA14-FC9B20F033DF}" dt="2023-09-25T11:18:55.222" v="341" actId="20577"/>
        <pc:sldMkLst>
          <pc:docMk/>
          <pc:sldMk cId="2786109204" sldId="2601"/>
        </pc:sldMkLst>
        <pc:spChg chg="mod">
          <ac:chgData name="ANA ROSA GUZMAN CARBONELL" userId="caee1ad8-0e8f-4d5e-b1f6-a4973232ef89" providerId="ADAL" clId="{90B2EF0D-28C7-489E-BA14-FC9B20F033DF}" dt="2023-09-25T11:18:55.222" v="341" actId="20577"/>
          <ac:spMkLst>
            <pc:docMk/>
            <pc:sldMk cId="2786109204" sldId="2601"/>
            <ac:spMk id="3" creationId="{4E40736D-0AAF-8D28-A789-A17EB57D19E8}"/>
          </ac:spMkLst>
        </pc:spChg>
        <pc:graphicFrameChg chg="modGraphic">
          <ac:chgData name="ANA ROSA GUZMAN CARBONELL" userId="caee1ad8-0e8f-4d5e-b1f6-a4973232ef89" providerId="ADAL" clId="{90B2EF0D-28C7-489E-BA14-FC9B20F033DF}" dt="2023-09-25T09:57:30.471" v="277" actId="403"/>
          <ac:graphicFrameMkLst>
            <pc:docMk/>
            <pc:sldMk cId="2786109204" sldId="2601"/>
            <ac:graphicFrameMk id="12" creationId="{9DA43D69-8805-E8A9-9A4B-A3DD20BAE98F}"/>
          </ac:graphicFrameMkLst>
        </pc:graphicFrameChg>
      </pc:sldChg>
      <pc:sldChg chg="modSp mod">
        <pc:chgData name="ANA ROSA GUZMAN CARBONELL" userId="caee1ad8-0e8f-4d5e-b1f6-a4973232ef89" providerId="ADAL" clId="{90B2EF0D-28C7-489E-BA14-FC9B20F033DF}" dt="2023-09-25T10:38:36.291" v="282"/>
        <pc:sldMkLst>
          <pc:docMk/>
          <pc:sldMk cId="1491929883" sldId="2602"/>
        </pc:sldMkLst>
        <pc:spChg chg="mod">
          <ac:chgData name="ANA ROSA GUZMAN CARBONELL" userId="caee1ad8-0e8f-4d5e-b1f6-a4973232ef89" providerId="ADAL" clId="{90B2EF0D-28C7-489E-BA14-FC9B20F033DF}" dt="2023-09-25T10:38:14.475" v="281" actId="20577"/>
          <ac:spMkLst>
            <pc:docMk/>
            <pc:sldMk cId="1491929883" sldId="2602"/>
            <ac:spMk id="2" creationId="{B9914A96-2133-E97B-3F8B-4AC1FC14F2BB}"/>
          </ac:spMkLst>
        </pc:spChg>
        <pc:picChg chg="mod">
          <ac:chgData name="ANA ROSA GUZMAN CARBONELL" userId="caee1ad8-0e8f-4d5e-b1f6-a4973232ef89" providerId="ADAL" clId="{90B2EF0D-28C7-489E-BA14-FC9B20F033DF}" dt="2023-09-25T10:38:36.291" v="282"/>
          <ac:picMkLst>
            <pc:docMk/>
            <pc:sldMk cId="1491929883" sldId="2602"/>
            <ac:picMk id="6" creationId="{54ED0AA5-0165-439F-4628-4BF7D7271E0C}"/>
          </ac:picMkLst>
        </pc:picChg>
      </pc:sldChg>
      <pc:sldChg chg="modSp mod">
        <pc:chgData name="ANA ROSA GUZMAN CARBONELL" userId="caee1ad8-0e8f-4d5e-b1f6-a4973232ef89" providerId="ADAL" clId="{90B2EF0D-28C7-489E-BA14-FC9B20F033DF}" dt="2023-09-25T11:17:57.563" v="297" actId="20577"/>
        <pc:sldMkLst>
          <pc:docMk/>
          <pc:sldMk cId="3933677640" sldId="2603"/>
        </pc:sldMkLst>
        <pc:spChg chg="mod">
          <ac:chgData name="ANA ROSA GUZMAN CARBONELL" userId="caee1ad8-0e8f-4d5e-b1f6-a4973232ef89" providerId="ADAL" clId="{90B2EF0D-28C7-489E-BA14-FC9B20F033DF}" dt="2023-09-25T11:17:57.563" v="297" actId="20577"/>
          <ac:spMkLst>
            <pc:docMk/>
            <pc:sldMk cId="3933677640" sldId="2603"/>
            <ac:spMk id="2" creationId="{B9914A96-2133-E97B-3F8B-4AC1FC14F2BB}"/>
          </ac:spMkLst>
        </pc:spChg>
        <pc:picChg chg="mod">
          <ac:chgData name="ANA ROSA GUZMAN CARBONELL" userId="caee1ad8-0e8f-4d5e-b1f6-a4973232ef89" providerId="ADAL" clId="{90B2EF0D-28C7-489E-BA14-FC9B20F033DF}" dt="2023-09-25T10:38:39.009" v="283"/>
          <ac:picMkLst>
            <pc:docMk/>
            <pc:sldMk cId="3933677640" sldId="2603"/>
            <ac:picMk id="6" creationId="{54ED0AA5-0165-439F-4628-4BF7D7271E0C}"/>
          </ac:picMkLst>
        </pc:picChg>
      </pc:sldChg>
      <pc:sldChg chg="modSp">
        <pc:chgData name="ANA ROSA GUZMAN CARBONELL" userId="caee1ad8-0e8f-4d5e-b1f6-a4973232ef89" providerId="ADAL" clId="{90B2EF0D-28C7-489E-BA14-FC9B20F033DF}" dt="2023-09-25T11:18:23.576" v="313"/>
        <pc:sldMkLst>
          <pc:docMk/>
          <pc:sldMk cId="1945716661" sldId="2604"/>
        </pc:sldMkLst>
        <pc:graphicFrameChg chg="mod">
          <ac:chgData name="ANA ROSA GUZMAN CARBONELL" userId="caee1ad8-0e8f-4d5e-b1f6-a4973232ef89" providerId="ADAL" clId="{90B2EF0D-28C7-489E-BA14-FC9B20F033DF}" dt="2023-09-25T11:18:23.576" v="313"/>
          <ac:graphicFrameMkLst>
            <pc:docMk/>
            <pc:sldMk cId="1945716661" sldId="2604"/>
            <ac:graphicFrameMk id="6" creationId="{5217AFFF-C1ED-2D27-5A81-8D9A0D305C3D}"/>
          </ac:graphicFrameMkLst>
        </pc:graphicFrameChg>
      </pc:sldChg>
      <pc:sldChg chg="addSp delSp modSp mod">
        <pc:chgData name="ANA ROSA GUZMAN CARBONELL" userId="caee1ad8-0e8f-4d5e-b1f6-a4973232ef89" providerId="ADAL" clId="{90B2EF0D-28C7-489E-BA14-FC9B20F033DF}" dt="2023-09-25T11:19:52.613" v="369" actId="20577"/>
        <pc:sldMkLst>
          <pc:docMk/>
          <pc:sldMk cId="1655008864" sldId="2605"/>
        </pc:sldMkLst>
        <pc:spChg chg="add mod">
          <ac:chgData name="ANA ROSA GUZMAN CARBONELL" userId="caee1ad8-0e8f-4d5e-b1f6-a4973232ef89" providerId="ADAL" clId="{90B2EF0D-28C7-489E-BA14-FC9B20F033DF}" dt="2023-09-25T08:52:41.851" v="129" actId="1076"/>
          <ac:spMkLst>
            <pc:docMk/>
            <pc:sldMk cId="1655008864" sldId="2605"/>
            <ac:spMk id="2" creationId="{4DA2515C-A1D8-DACB-D021-C70A79423309}"/>
          </ac:spMkLst>
        </pc:spChg>
        <pc:spChg chg="mod">
          <ac:chgData name="ANA ROSA GUZMAN CARBONELL" userId="caee1ad8-0e8f-4d5e-b1f6-a4973232ef89" providerId="ADAL" clId="{90B2EF0D-28C7-489E-BA14-FC9B20F033DF}" dt="2023-09-25T11:19:52.613" v="369" actId="20577"/>
          <ac:spMkLst>
            <pc:docMk/>
            <pc:sldMk cId="1655008864" sldId="2605"/>
            <ac:spMk id="3" creationId="{683EC116-9F34-00B1-437A-731A8806FA77}"/>
          </ac:spMkLst>
        </pc:spChg>
        <pc:spChg chg="mod">
          <ac:chgData name="ANA ROSA GUZMAN CARBONELL" userId="caee1ad8-0e8f-4d5e-b1f6-a4973232ef89" providerId="ADAL" clId="{90B2EF0D-28C7-489E-BA14-FC9B20F033DF}" dt="2023-09-25T08:54:24.744" v="214" actId="1076"/>
          <ac:spMkLst>
            <pc:docMk/>
            <pc:sldMk cId="1655008864" sldId="2605"/>
            <ac:spMk id="28" creationId="{F9673134-5AE0-1F3E-A436-F4D54019EABC}"/>
          </ac:spMkLst>
        </pc:spChg>
        <pc:spChg chg="mod">
          <ac:chgData name="ANA ROSA GUZMAN CARBONELL" userId="caee1ad8-0e8f-4d5e-b1f6-a4973232ef89" providerId="ADAL" clId="{90B2EF0D-28C7-489E-BA14-FC9B20F033DF}" dt="2023-09-25T08:52:35.565" v="127" actId="14100"/>
          <ac:spMkLst>
            <pc:docMk/>
            <pc:sldMk cId="1655008864" sldId="2605"/>
            <ac:spMk id="29" creationId="{C21DF306-40A4-D6F5-D576-6BA0B4A0A2E1}"/>
          </ac:spMkLst>
        </pc:spChg>
        <pc:spChg chg="mod">
          <ac:chgData name="ANA ROSA GUZMAN CARBONELL" userId="caee1ad8-0e8f-4d5e-b1f6-a4973232ef89" providerId="ADAL" clId="{90B2EF0D-28C7-489E-BA14-FC9B20F033DF}" dt="2023-09-25T08:52:38.764" v="128" actId="1076"/>
          <ac:spMkLst>
            <pc:docMk/>
            <pc:sldMk cId="1655008864" sldId="2605"/>
            <ac:spMk id="30" creationId="{1F1989AD-22A3-FAB9-7A90-F5C941F0481E}"/>
          </ac:spMkLst>
        </pc:spChg>
        <pc:spChg chg="del">
          <ac:chgData name="ANA ROSA GUZMAN CARBONELL" userId="caee1ad8-0e8f-4d5e-b1f6-a4973232ef89" providerId="ADAL" clId="{90B2EF0D-28C7-489E-BA14-FC9B20F033DF}" dt="2023-09-25T08:49:59.881" v="2" actId="478"/>
          <ac:spMkLst>
            <pc:docMk/>
            <pc:sldMk cId="1655008864" sldId="2605"/>
            <ac:spMk id="31" creationId="{EC8B3D8B-7FB6-0E01-3641-F9A1C11EFDB4}"/>
          </ac:spMkLst>
        </pc:spChg>
        <pc:spChg chg="mod">
          <ac:chgData name="ANA ROSA GUZMAN CARBONELL" userId="caee1ad8-0e8f-4d5e-b1f6-a4973232ef89" providerId="ADAL" clId="{90B2EF0D-28C7-489E-BA14-FC9B20F033DF}" dt="2023-09-25T08:54:37.243" v="218" actId="14100"/>
          <ac:spMkLst>
            <pc:docMk/>
            <pc:sldMk cId="1655008864" sldId="2605"/>
            <ac:spMk id="32" creationId="{9CB7BEA0-9DFD-5A85-35B1-6297F11BEC58}"/>
          </ac:spMkLst>
        </pc:spChg>
        <pc:spChg chg="add mod">
          <ac:chgData name="ANA ROSA GUZMAN CARBONELL" userId="caee1ad8-0e8f-4d5e-b1f6-a4973232ef89" providerId="ADAL" clId="{90B2EF0D-28C7-489E-BA14-FC9B20F033DF}" dt="2023-09-25T08:54:47.063" v="222" actId="122"/>
          <ac:spMkLst>
            <pc:docMk/>
            <pc:sldMk cId="1655008864" sldId="2605"/>
            <ac:spMk id="35" creationId="{15AFB163-504C-DABD-E83B-048AD892D91A}"/>
          </ac:spMkLst>
        </pc:spChg>
        <pc:spChg chg="add mod">
          <ac:chgData name="ANA ROSA GUZMAN CARBONELL" userId="caee1ad8-0e8f-4d5e-b1f6-a4973232ef89" providerId="ADAL" clId="{90B2EF0D-28C7-489E-BA14-FC9B20F033DF}" dt="2023-09-25T08:54:59.018" v="227" actId="1076"/>
          <ac:spMkLst>
            <pc:docMk/>
            <pc:sldMk cId="1655008864" sldId="2605"/>
            <ac:spMk id="37" creationId="{B38A60E7-D051-B18C-CB71-75179F16FF43}"/>
          </ac:spMkLst>
        </pc:spChg>
        <pc:picChg chg="mod">
          <ac:chgData name="ANA ROSA GUZMAN CARBONELL" userId="caee1ad8-0e8f-4d5e-b1f6-a4973232ef89" providerId="ADAL" clId="{90B2EF0D-28C7-489E-BA14-FC9B20F033DF}" dt="2023-09-25T09:54:35.685" v="229" actId="27349"/>
          <ac:picMkLst>
            <pc:docMk/>
            <pc:sldMk cId="1655008864" sldId="2605"/>
            <ac:picMk id="33" creationId="{0C07FD87-D1C9-2DCC-763C-13261DC5310B}"/>
          </ac:picMkLst>
        </pc:picChg>
        <pc:picChg chg="mod">
          <ac:chgData name="ANA ROSA GUZMAN CARBONELL" userId="caee1ad8-0e8f-4d5e-b1f6-a4973232ef89" providerId="ADAL" clId="{90B2EF0D-28C7-489E-BA14-FC9B20F033DF}" dt="2023-09-25T09:54:35.685" v="229" actId="27349"/>
          <ac:picMkLst>
            <pc:docMk/>
            <pc:sldMk cId="1655008864" sldId="2605"/>
            <ac:picMk id="34" creationId="{116D158E-4A24-C2ED-A79A-2E42E1109C53}"/>
          </ac:picMkLst>
        </pc:picChg>
      </pc:sldChg>
    </pc:docChg>
  </pc:docChgLst>
  <pc:docChgLst>
    <pc:chgData name="ANA ROSA GUZMAN CARBONELL" userId="S::anarosa.guzman@correo.gob.es::caee1ad8-0e8f-4d5e-b1f6-a4973232ef89" providerId="AD" clId="Web-{6A036F9A-4D5D-B967-3459-A5ACE26C8AA5}"/>
    <pc:docChg chg="modSld">
      <pc:chgData name="ANA ROSA GUZMAN CARBONELL" userId="S::anarosa.guzman@correo.gob.es::caee1ad8-0e8f-4d5e-b1f6-a4973232ef89" providerId="AD" clId="Web-{6A036F9A-4D5D-B967-3459-A5ACE26C8AA5}" dt="2023-10-08T07:18:10.113" v="101" actId="14100"/>
      <pc:docMkLst>
        <pc:docMk/>
      </pc:docMkLst>
      <pc:sldChg chg="addSp delSp modSp">
        <pc:chgData name="ANA ROSA GUZMAN CARBONELL" userId="S::anarosa.guzman@correo.gob.es::caee1ad8-0e8f-4d5e-b1f6-a4973232ef89" providerId="AD" clId="Web-{6A036F9A-4D5D-B967-3459-A5ACE26C8AA5}" dt="2023-10-08T07:10:08.898" v="91" actId="20577"/>
        <pc:sldMkLst>
          <pc:docMk/>
          <pc:sldMk cId="3117448947" sldId="931"/>
        </pc:sldMkLst>
        <pc:spChg chg="mod">
          <ac:chgData name="ANA ROSA GUZMAN CARBONELL" userId="S::anarosa.guzman@correo.gob.es::caee1ad8-0e8f-4d5e-b1f6-a4973232ef89" providerId="AD" clId="Web-{6A036F9A-4D5D-B967-3459-A5ACE26C8AA5}" dt="2023-10-08T07:10:08.898" v="91" actId="20577"/>
          <ac:spMkLst>
            <pc:docMk/>
            <pc:sldMk cId="3117448947" sldId="931"/>
            <ac:spMk id="5" creationId="{D94D532A-7A9A-F89F-705C-69B3A49E14CC}"/>
          </ac:spMkLst>
        </pc:spChg>
        <pc:picChg chg="add mod">
          <ac:chgData name="ANA ROSA GUZMAN CARBONELL" userId="S::anarosa.guzman@correo.gob.es::caee1ad8-0e8f-4d5e-b1f6-a4973232ef89" providerId="AD" clId="Web-{6A036F9A-4D5D-B967-3459-A5ACE26C8AA5}" dt="2023-10-08T07:09:24.316" v="87" actId="14100"/>
          <ac:picMkLst>
            <pc:docMk/>
            <pc:sldMk cId="3117448947" sldId="931"/>
            <ac:picMk id="8" creationId="{734BD3B5-A85D-D7F4-62DE-1AB7766FD369}"/>
          </ac:picMkLst>
        </pc:picChg>
        <pc:picChg chg="add del mod">
          <ac:chgData name="ANA ROSA GUZMAN CARBONELL" userId="S::anarosa.guzman@correo.gob.es::caee1ad8-0e8f-4d5e-b1f6-a4973232ef89" providerId="AD" clId="Web-{6A036F9A-4D5D-B967-3459-A5ACE26C8AA5}" dt="2023-10-08T07:09:16.941" v="86"/>
          <ac:picMkLst>
            <pc:docMk/>
            <pc:sldMk cId="3117448947" sldId="931"/>
            <ac:picMk id="10" creationId="{6B236C76-E30A-7ADC-2DF7-CFC5865F679A}"/>
          </ac:picMkLst>
        </pc:picChg>
      </pc:sldChg>
      <pc:sldChg chg="addSp delSp modSp">
        <pc:chgData name="ANA ROSA GUZMAN CARBONELL" userId="S::anarosa.guzman@correo.gob.es::caee1ad8-0e8f-4d5e-b1f6-a4973232ef89" providerId="AD" clId="Web-{6A036F9A-4D5D-B967-3459-A5ACE26C8AA5}" dt="2023-10-08T07:11:19.697" v="98" actId="1076"/>
        <pc:sldMkLst>
          <pc:docMk/>
          <pc:sldMk cId="1029930847" sldId="2598"/>
        </pc:sldMkLst>
        <pc:spChg chg="add mod">
          <ac:chgData name="ANA ROSA GUZMAN CARBONELL" userId="S::anarosa.guzman@correo.gob.es::caee1ad8-0e8f-4d5e-b1f6-a4973232ef89" providerId="AD" clId="Web-{6A036F9A-4D5D-B967-3459-A5ACE26C8AA5}" dt="2023-10-08T07:03:12.024" v="41" actId="20577"/>
          <ac:spMkLst>
            <pc:docMk/>
            <pc:sldMk cId="1029930847" sldId="2598"/>
            <ac:spMk id="15" creationId="{4CAFB59F-3AFF-9147-38BD-3D250CA467FC}"/>
          </ac:spMkLst>
        </pc:spChg>
        <pc:grpChg chg="del">
          <ac:chgData name="ANA ROSA GUZMAN CARBONELL" userId="S::anarosa.guzman@correo.gob.es::caee1ad8-0e8f-4d5e-b1f6-a4973232ef89" providerId="AD" clId="Web-{6A036F9A-4D5D-B967-3459-A5ACE26C8AA5}" dt="2023-10-08T07:01:29.037" v="32"/>
          <ac:grpSpMkLst>
            <pc:docMk/>
            <pc:sldMk cId="1029930847" sldId="2598"/>
            <ac:grpSpMk id="3" creationId="{3B35E818-1B95-D314-B824-A4F7FAF40F3E}"/>
          </ac:grpSpMkLst>
        </pc:grpChg>
        <pc:grpChg chg="del">
          <ac:chgData name="ANA ROSA GUZMAN CARBONELL" userId="S::anarosa.guzman@correo.gob.es::caee1ad8-0e8f-4d5e-b1f6-a4973232ef89" providerId="AD" clId="Web-{6A036F9A-4D5D-B967-3459-A5ACE26C8AA5}" dt="2023-10-08T07:01:23.662" v="30"/>
          <ac:grpSpMkLst>
            <pc:docMk/>
            <pc:sldMk cId="1029930847" sldId="2598"/>
            <ac:grpSpMk id="6" creationId="{1104B9B8-9F4F-4ADA-B69A-C4A541C57BD5}"/>
          </ac:grpSpMkLst>
        </pc:grpChg>
        <pc:grpChg chg="add mod">
          <ac:chgData name="ANA ROSA GUZMAN CARBONELL" userId="S::anarosa.guzman@correo.gob.es::caee1ad8-0e8f-4d5e-b1f6-a4973232ef89" providerId="AD" clId="Web-{6A036F9A-4D5D-B967-3459-A5ACE26C8AA5}" dt="2023-10-08T07:11:19.697" v="98" actId="1076"/>
          <ac:grpSpMkLst>
            <pc:docMk/>
            <pc:sldMk cId="1029930847" sldId="2598"/>
            <ac:grpSpMk id="13" creationId="{A09ABFB7-5034-5D6F-BDDD-BC7B6E2611D5}"/>
          </ac:grpSpMkLst>
        </pc:grpChg>
        <pc:picChg chg="del">
          <ac:chgData name="ANA ROSA GUZMAN CARBONELL" userId="S::anarosa.guzman@correo.gob.es::caee1ad8-0e8f-4d5e-b1f6-a4973232ef89" providerId="AD" clId="Web-{6A036F9A-4D5D-B967-3459-A5ACE26C8AA5}" dt="2023-10-08T07:01:26.350" v="31"/>
          <ac:picMkLst>
            <pc:docMk/>
            <pc:sldMk cId="1029930847" sldId="2598"/>
            <ac:picMk id="5" creationId="{F8FAF290-69A0-6CC9-0FC9-7B67F3287A74}"/>
          </ac:picMkLst>
        </pc:picChg>
        <pc:picChg chg="add mod">
          <ac:chgData name="ANA ROSA GUZMAN CARBONELL" userId="S::anarosa.guzman@correo.gob.es::caee1ad8-0e8f-4d5e-b1f6-a4973232ef89" providerId="AD" clId="Web-{6A036F9A-4D5D-B967-3459-A5ACE26C8AA5}" dt="2023-10-08T07:11:04.306" v="97" actId="1076"/>
          <ac:picMkLst>
            <pc:docMk/>
            <pc:sldMk cId="1029930847" sldId="2598"/>
            <ac:picMk id="7" creationId="{AC8E51FD-5FDA-88B9-A446-EC879FC42B0F}"/>
          </ac:picMkLst>
        </pc:picChg>
        <pc:picChg chg="mod topLvl">
          <ac:chgData name="ANA ROSA GUZMAN CARBONELL" userId="S::anarosa.guzman@correo.gob.es::caee1ad8-0e8f-4d5e-b1f6-a4973232ef89" providerId="AD" clId="Web-{6A036F9A-4D5D-B967-3459-A5ACE26C8AA5}" dt="2023-10-08T07:03:56.588" v="49" actId="1076"/>
          <ac:picMkLst>
            <pc:docMk/>
            <pc:sldMk cId="1029930847" sldId="2598"/>
            <ac:picMk id="8" creationId="{C5F22773-6C9F-4075-9646-15E05C109556}"/>
          </ac:picMkLst>
        </pc:picChg>
        <pc:picChg chg="del topLvl">
          <ac:chgData name="ANA ROSA GUZMAN CARBONELL" userId="S::anarosa.guzman@correo.gob.es::caee1ad8-0e8f-4d5e-b1f6-a4973232ef89" providerId="AD" clId="Web-{6A036F9A-4D5D-B967-3459-A5ACE26C8AA5}" dt="2023-10-08T07:01:23.662" v="30"/>
          <ac:picMkLst>
            <pc:docMk/>
            <pc:sldMk cId="1029930847" sldId="2598"/>
            <ac:picMk id="11" creationId="{F8BCCB4B-093C-41D2-A57B-CC4ADC715D5D}"/>
          </ac:picMkLst>
        </pc:picChg>
        <pc:picChg chg="add">
          <ac:chgData name="ANA ROSA GUZMAN CARBONELL" userId="S::anarosa.guzman@correo.gob.es::caee1ad8-0e8f-4d5e-b1f6-a4973232ef89" providerId="AD" clId="Web-{6A036F9A-4D5D-B967-3459-A5ACE26C8AA5}" dt="2023-10-08T07:02:58.383" v="36"/>
          <ac:picMkLst>
            <pc:docMk/>
            <pc:sldMk cId="1029930847" sldId="2598"/>
            <ac:picMk id="14" creationId="{9B5B3201-6603-2DBB-06AC-82BC4C573314}"/>
          </ac:picMkLst>
        </pc:picChg>
        <pc:picChg chg="add mod">
          <ac:chgData name="ANA ROSA GUZMAN CARBONELL" userId="S::anarosa.guzman@correo.gob.es::caee1ad8-0e8f-4d5e-b1f6-a4973232ef89" providerId="AD" clId="Web-{6A036F9A-4D5D-B967-3459-A5ACE26C8AA5}" dt="2023-10-08T07:10:51.399" v="93" actId="1076"/>
          <ac:picMkLst>
            <pc:docMk/>
            <pc:sldMk cId="1029930847" sldId="2598"/>
            <ac:picMk id="17" creationId="{F2277EBE-A737-C350-87D5-402E92437D99}"/>
          </ac:picMkLst>
        </pc:picChg>
      </pc:sldChg>
      <pc:sldChg chg="addSp modSp">
        <pc:chgData name="ANA ROSA GUZMAN CARBONELL" userId="S::anarosa.guzman@correo.gob.es::caee1ad8-0e8f-4d5e-b1f6-a4973232ef89" providerId="AD" clId="Web-{6A036F9A-4D5D-B967-3459-A5ACE26C8AA5}" dt="2023-10-08T07:07:38.984" v="65" actId="1076"/>
        <pc:sldMkLst>
          <pc:docMk/>
          <pc:sldMk cId="2708640855" sldId="2600"/>
        </pc:sldMkLst>
        <pc:picChg chg="add mod">
          <ac:chgData name="ANA ROSA GUZMAN CARBONELL" userId="S::anarosa.guzman@correo.gob.es::caee1ad8-0e8f-4d5e-b1f6-a4973232ef89" providerId="AD" clId="Web-{6A036F9A-4D5D-B967-3459-A5ACE26C8AA5}" dt="2023-10-08T07:07:35.968" v="64" actId="1076"/>
          <ac:picMkLst>
            <pc:docMk/>
            <pc:sldMk cId="2708640855" sldId="2600"/>
            <ac:picMk id="3" creationId="{4CEEE05A-5E30-573D-13D5-4FDE201C74CE}"/>
          </ac:picMkLst>
        </pc:picChg>
        <pc:picChg chg="add mod">
          <ac:chgData name="ANA ROSA GUZMAN CARBONELL" userId="S::anarosa.guzman@correo.gob.es::caee1ad8-0e8f-4d5e-b1f6-a4973232ef89" providerId="AD" clId="Web-{6A036F9A-4D5D-B967-3459-A5ACE26C8AA5}" dt="2023-10-08T07:07:38.984" v="65" actId="1076"/>
          <ac:picMkLst>
            <pc:docMk/>
            <pc:sldMk cId="2708640855" sldId="2600"/>
            <ac:picMk id="10" creationId="{D3B008F7-AB44-A66B-C3F7-DBDE891FCE4D}"/>
          </ac:picMkLst>
        </pc:picChg>
      </pc:sldChg>
      <pc:sldChg chg="addSp addAnim">
        <pc:chgData name="ANA ROSA GUZMAN CARBONELL" userId="S::anarosa.guzman@correo.gob.es::caee1ad8-0e8f-4d5e-b1f6-a4973232ef89" providerId="AD" clId="Web-{6A036F9A-4D5D-B967-3459-A5ACE26C8AA5}" dt="2023-10-08T07:07:47.750" v="67"/>
        <pc:sldMkLst>
          <pc:docMk/>
          <pc:sldMk cId="2786109204" sldId="2601"/>
        </pc:sldMkLst>
        <pc:picChg chg="add">
          <ac:chgData name="ANA ROSA GUZMAN CARBONELL" userId="S::anarosa.guzman@correo.gob.es::caee1ad8-0e8f-4d5e-b1f6-a4973232ef89" providerId="AD" clId="Web-{6A036F9A-4D5D-B967-3459-A5ACE26C8AA5}" dt="2023-10-08T07:07:47.734" v="66"/>
          <ac:picMkLst>
            <pc:docMk/>
            <pc:sldMk cId="2786109204" sldId="2601"/>
            <ac:picMk id="54" creationId="{3908CDE8-C563-3C74-5153-048495A82AF4}"/>
          </ac:picMkLst>
        </pc:picChg>
        <pc:picChg chg="add">
          <ac:chgData name="ANA ROSA GUZMAN CARBONELL" userId="S::anarosa.guzman@correo.gob.es::caee1ad8-0e8f-4d5e-b1f6-a4973232ef89" providerId="AD" clId="Web-{6A036F9A-4D5D-B967-3459-A5ACE26C8AA5}" dt="2023-10-08T07:07:47.750" v="67"/>
          <ac:picMkLst>
            <pc:docMk/>
            <pc:sldMk cId="2786109204" sldId="2601"/>
            <ac:picMk id="56" creationId="{636CABAB-2D25-42DF-83F8-94358F057000}"/>
          </ac:picMkLst>
        </pc:picChg>
      </pc:sldChg>
      <pc:sldChg chg="addSp modSp">
        <pc:chgData name="ANA ROSA GUZMAN CARBONELL" userId="S::anarosa.guzman@correo.gob.es::caee1ad8-0e8f-4d5e-b1f6-a4973232ef89" providerId="AD" clId="Web-{6A036F9A-4D5D-B967-3459-A5ACE26C8AA5}" dt="2023-10-08T07:07:49.656" v="69"/>
        <pc:sldMkLst>
          <pc:docMk/>
          <pc:sldMk cId="1491929883" sldId="2602"/>
        </pc:sldMkLst>
        <pc:spChg chg="mod">
          <ac:chgData name="ANA ROSA GUZMAN CARBONELL" userId="S::anarosa.guzman@correo.gob.es::caee1ad8-0e8f-4d5e-b1f6-a4973232ef89" providerId="AD" clId="Web-{6A036F9A-4D5D-B967-3459-A5ACE26C8AA5}" dt="2023-10-08T06:55:36.274" v="6" actId="20577"/>
          <ac:spMkLst>
            <pc:docMk/>
            <pc:sldMk cId="1491929883" sldId="2602"/>
            <ac:spMk id="2" creationId="{B9914A96-2133-E97B-3F8B-4AC1FC14F2BB}"/>
          </ac:spMkLst>
        </pc:spChg>
        <pc:spChg chg="mod">
          <ac:chgData name="ANA ROSA GUZMAN CARBONELL" userId="S::anarosa.guzman@correo.gob.es::caee1ad8-0e8f-4d5e-b1f6-a4973232ef89" providerId="AD" clId="Web-{6A036F9A-4D5D-B967-3459-A5ACE26C8AA5}" dt="2023-10-08T06:55:42.805" v="9" actId="1076"/>
          <ac:spMkLst>
            <pc:docMk/>
            <pc:sldMk cId="1491929883" sldId="2602"/>
            <ac:spMk id="11" creationId="{7423F95E-EA39-1E68-52CD-FE4F3D2C8D05}"/>
          </ac:spMkLst>
        </pc:spChg>
        <pc:spChg chg="mod">
          <ac:chgData name="ANA ROSA GUZMAN CARBONELL" userId="S::anarosa.guzman@correo.gob.es::caee1ad8-0e8f-4d5e-b1f6-a4973232ef89" providerId="AD" clId="Web-{6A036F9A-4D5D-B967-3459-A5ACE26C8AA5}" dt="2023-10-08T06:55:39.258" v="8" actId="1076"/>
          <ac:spMkLst>
            <pc:docMk/>
            <pc:sldMk cId="1491929883" sldId="2602"/>
            <ac:spMk id="12" creationId="{7D4669C0-6925-B530-9C88-F929DF7DA027}"/>
          </ac:spMkLst>
        </pc:spChg>
        <pc:picChg chg="add">
          <ac:chgData name="ANA ROSA GUZMAN CARBONELL" userId="S::anarosa.guzman@correo.gob.es::caee1ad8-0e8f-4d5e-b1f6-a4973232ef89" providerId="AD" clId="Web-{6A036F9A-4D5D-B967-3459-A5ACE26C8AA5}" dt="2023-10-08T07:07:49.641" v="68"/>
          <ac:picMkLst>
            <pc:docMk/>
            <pc:sldMk cId="1491929883" sldId="2602"/>
            <ac:picMk id="7" creationId="{00B60DCA-2597-62FE-76F5-3A1F11E33C22}"/>
          </ac:picMkLst>
        </pc:picChg>
        <pc:picChg chg="add">
          <ac:chgData name="ANA ROSA GUZMAN CARBONELL" userId="S::anarosa.guzman@correo.gob.es::caee1ad8-0e8f-4d5e-b1f6-a4973232ef89" providerId="AD" clId="Web-{6A036F9A-4D5D-B967-3459-A5ACE26C8AA5}" dt="2023-10-08T07:07:49.656" v="69"/>
          <ac:picMkLst>
            <pc:docMk/>
            <pc:sldMk cId="1491929883" sldId="2602"/>
            <ac:picMk id="10" creationId="{8DCDB33B-AE5E-7032-859C-E829B4A1B8A3}"/>
          </ac:picMkLst>
        </pc:picChg>
      </pc:sldChg>
      <pc:sldChg chg="addSp">
        <pc:chgData name="ANA ROSA GUZMAN CARBONELL" userId="S::anarosa.guzman@correo.gob.es::caee1ad8-0e8f-4d5e-b1f6-a4973232ef89" providerId="AD" clId="Web-{6A036F9A-4D5D-B967-3459-A5ACE26C8AA5}" dt="2023-10-08T07:08:01.641" v="73"/>
        <pc:sldMkLst>
          <pc:docMk/>
          <pc:sldMk cId="3933677640" sldId="2603"/>
        </pc:sldMkLst>
        <pc:picChg chg="add">
          <ac:chgData name="ANA ROSA GUZMAN CARBONELL" userId="S::anarosa.guzman@correo.gob.es::caee1ad8-0e8f-4d5e-b1f6-a4973232ef89" providerId="AD" clId="Web-{6A036F9A-4D5D-B967-3459-A5ACE26C8AA5}" dt="2023-10-08T07:08:01.625" v="72"/>
          <ac:picMkLst>
            <pc:docMk/>
            <pc:sldMk cId="3933677640" sldId="2603"/>
            <ac:picMk id="8" creationId="{C993963D-58C9-5AE1-7386-F937C179290A}"/>
          </ac:picMkLst>
        </pc:picChg>
        <pc:picChg chg="add">
          <ac:chgData name="ANA ROSA GUZMAN CARBONELL" userId="S::anarosa.guzman@correo.gob.es::caee1ad8-0e8f-4d5e-b1f6-a4973232ef89" providerId="AD" clId="Web-{6A036F9A-4D5D-B967-3459-A5ACE26C8AA5}" dt="2023-10-08T07:08:01.641" v="73"/>
          <ac:picMkLst>
            <pc:docMk/>
            <pc:sldMk cId="3933677640" sldId="2603"/>
            <ac:picMk id="11" creationId="{D0EF6774-5E5A-83A6-AE85-6DC4C0C761D1}"/>
          </ac:picMkLst>
        </pc:picChg>
      </pc:sldChg>
      <pc:sldChg chg="addSp modSp mod modClrScheme chgLayout">
        <pc:chgData name="ANA ROSA GUZMAN CARBONELL" userId="S::anarosa.guzman@correo.gob.es::caee1ad8-0e8f-4d5e-b1f6-a4973232ef89" providerId="AD" clId="Web-{6A036F9A-4D5D-B967-3459-A5ACE26C8AA5}" dt="2023-10-08T07:08:31.814" v="75" actId="1076"/>
        <pc:sldMkLst>
          <pc:docMk/>
          <pc:sldMk cId="1945716661" sldId="2604"/>
        </pc:sldMkLst>
        <pc:spChg chg="mod ord">
          <ac:chgData name="ANA ROSA GUZMAN CARBONELL" userId="S::anarosa.guzman@correo.gob.es::caee1ad8-0e8f-4d5e-b1f6-a4973232ef89" providerId="AD" clId="Web-{6A036F9A-4D5D-B967-3459-A5ACE26C8AA5}" dt="2023-10-08T07:08:21.344" v="74"/>
          <ac:spMkLst>
            <pc:docMk/>
            <pc:sldMk cId="1945716661" sldId="2604"/>
            <ac:spMk id="3" creationId="{A8B18FCE-A6BF-4F25-30BE-4D2E930F63A0}"/>
          </ac:spMkLst>
        </pc:spChg>
        <pc:spChg chg="mod ord">
          <ac:chgData name="ANA ROSA GUZMAN CARBONELL" userId="S::anarosa.guzman@correo.gob.es::caee1ad8-0e8f-4d5e-b1f6-a4973232ef89" providerId="AD" clId="Web-{6A036F9A-4D5D-B967-3459-A5ACE26C8AA5}" dt="2023-10-08T07:08:21.344" v="74"/>
          <ac:spMkLst>
            <pc:docMk/>
            <pc:sldMk cId="1945716661" sldId="2604"/>
            <ac:spMk id="4" creationId="{B9B5FEB3-47AC-337A-9B18-2864B74CD745}"/>
          </ac:spMkLst>
        </pc:spChg>
        <pc:spChg chg="mod ord">
          <ac:chgData name="ANA ROSA GUZMAN CARBONELL" userId="S::anarosa.guzman@correo.gob.es::caee1ad8-0e8f-4d5e-b1f6-a4973232ef89" providerId="AD" clId="Web-{6A036F9A-4D5D-B967-3459-A5ACE26C8AA5}" dt="2023-10-08T07:08:31.814" v="75" actId="1076"/>
          <ac:spMkLst>
            <pc:docMk/>
            <pc:sldMk cId="1945716661" sldId="2604"/>
            <ac:spMk id="10" creationId="{90806BE5-1DCA-F96C-CD70-D93ABCEDA4A0}"/>
          </ac:spMkLst>
        </pc:spChg>
        <pc:graphicFrameChg chg="mod ord modGraphic">
          <ac:chgData name="ANA ROSA GUZMAN CARBONELL" userId="S::anarosa.guzman@correo.gob.es::caee1ad8-0e8f-4d5e-b1f6-a4973232ef89" providerId="AD" clId="Web-{6A036F9A-4D5D-B967-3459-A5ACE26C8AA5}" dt="2023-10-08T07:08:21.344" v="74"/>
          <ac:graphicFrameMkLst>
            <pc:docMk/>
            <pc:sldMk cId="1945716661" sldId="2604"/>
            <ac:graphicFrameMk id="6" creationId="{5217AFFF-C1ED-2D27-5A81-8D9A0D305C3D}"/>
          </ac:graphicFrameMkLst>
        </pc:graphicFrameChg>
        <pc:picChg chg="add">
          <ac:chgData name="ANA ROSA GUZMAN CARBONELL" userId="S::anarosa.guzman@correo.gob.es::caee1ad8-0e8f-4d5e-b1f6-a4973232ef89" providerId="AD" clId="Web-{6A036F9A-4D5D-B967-3459-A5ACE26C8AA5}" dt="2023-10-08T07:07:51.078" v="70"/>
          <ac:picMkLst>
            <pc:docMk/>
            <pc:sldMk cId="1945716661" sldId="2604"/>
            <ac:picMk id="91" creationId="{6D4216AC-4C63-F217-3B9B-2FE02404A595}"/>
          </ac:picMkLst>
        </pc:picChg>
        <pc:picChg chg="add">
          <ac:chgData name="ANA ROSA GUZMAN CARBONELL" userId="S::anarosa.guzman@correo.gob.es::caee1ad8-0e8f-4d5e-b1f6-a4973232ef89" providerId="AD" clId="Web-{6A036F9A-4D5D-B967-3459-A5ACE26C8AA5}" dt="2023-10-08T07:07:51.094" v="71"/>
          <ac:picMkLst>
            <pc:docMk/>
            <pc:sldMk cId="1945716661" sldId="2604"/>
            <ac:picMk id="93" creationId="{CA6DDFDB-A59F-D2C9-16DF-74510C41877F}"/>
          </ac:picMkLst>
        </pc:picChg>
      </pc:sldChg>
      <pc:sldChg chg="addSp modSp addAnim">
        <pc:chgData name="ANA ROSA GUZMAN CARBONELL" userId="S::anarosa.guzman@correo.gob.es::caee1ad8-0e8f-4d5e-b1f6-a4973232ef89" providerId="AD" clId="Web-{6A036F9A-4D5D-B967-3459-A5ACE26C8AA5}" dt="2023-10-08T07:18:10.113" v="101" actId="14100"/>
        <pc:sldMkLst>
          <pc:docMk/>
          <pc:sldMk cId="1655008864" sldId="2605"/>
        </pc:sldMkLst>
        <pc:spChg chg="mod">
          <ac:chgData name="ANA ROSA GUZMAN CARBONELL" userId="S::anarosa.guzman@correo.gob.es::caee1ad8-0e8f-4d5e-b1f6-a4973232ef89" providerId="AD" clId="Web-{6A036F9A-4D5D-B967-3459-A5ACE26C8AA5}" dt="2023-10-08T07:18:10.113" v="101" actId="14100"/>
          <ac:spMkLst>
            <pc:docMk/>
            <pc:sldMk cId="1655008864" sldId="2605"/>
            <ac:spMk id="3" creationId="{683EC116-9F34-00B1-437A-731A8806FA77}"/>
          </ac:spMkLst>
        </pc:spChg>
        <pc:spChg chg="mod">
          <ac:chgData name="ANA ROSA GUZMAN CARBONELL" userId="S::anarosa.guzman@correo.gob.es::caee1ad8-0e8f-4d5e-b1f6-a4973232ef89" providerId="AD" clId="Web-{6A036F9A-4D5D-B967-3459-A5ACE26C8AA5}" dt="2023-10-08T06:58:01.720" v="20" actId="1076"/>
          <ac:spMkLst>
            <pc:docMk/>
            <pc:sldMk cId="1655008864" sldId="2605"/>
            <ac:spMk id="35" creationId="{15AFB163-504C-DABD-E83B-048AD892D91A}"/>
          </ac:spMkLst>
        </pc:spChg>
        <pc:picChg chg="mod">
          <ac:chgData name="ANA ROSA GUZMAN CARBONELL" userId="S::anarosa.guzman@correo.gob.es::caee1ad8-0e8f-4d5e-b1f6-a4973232ef89" providerId="AD" clId="Web-{6A036F9A-4D5D-B967-3459-A5ACE26C8AA5}" dt="2023-10-08T06:58:10.064" v="21" actId="1076"/>
          <ac:picMkLst>
            <pc:docMk/>
            <pc:sldMk cId="1655008864" sldId="2605"/>
            <ac:picMk id="33" creationId="{0C07FD87-D1C9-2DCC-763C-13261DC5310B}"/>
          </ac:picMkLst>
        </pc:picChg>
        <pc:picChg chg="add">
          <ac:chgData name="ANA ROSA GUZMAN CARBONELL" userId="S::anarosa.guzman@correo.gob.es::caee1ad8-0e8f-4d5e-b1f6-a4973232ef89" providerId="AD" clId="Web-{6A036F9A-4D5D-B967-3459-A5ACE26C8AA5}" dt="2023-10-08T07:08:38.205" v="76"/>
          <ac:picMkLst>
            <pc:docMk/>
            <pc:sldMk cId="1655008864" sldId="2605"/>
            <ac:picMk id="47" creationId="{1A05C48F-453F-9D45-0659-C6D50D808850}"/>
          </ac:picMkLst>
        </pc:picChg>
        <pc:picChg chg="add">
          <ac:chgData name="ANA ROSA GUZMAN CARBONELL" userId="S::anarosa.guzman@correo.gob.es::caee1ad8-0e8f-4d5e-b1f6-a4973232ef89" providerId="AD" clId="Web-{6A036F9A-4D5D-B967-3459-A5ACE26C8AA5}" dt="2023-10-08T07:08:38.221" v="77"/>
          <ac:picMkLst>
            <pc:docMk/>
            <pc:sldMk cId="1655008864" sldId="2605"/>
            <ac:picMk id="49" creationId="{2C1209C0-CC53-25E6-5DF0-AAB6D311B465}"/>
          </ac:picMkLst>
        </pc:picChg>
      </pc:sldChg>
    </pc:docChg>
  </pc:docChgLst>
</pc:chgInfo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4" Type="http://schemas.openxmlformats.org/officeDocument/2006/relationships/image" Target="../media/image41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4" Type="http://schemas.openxmlformats.org/officeDocument/2006/relationships/image" Target="../media/image4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667E4B-6311-490C-869E-33900BDC43C2}" type="doc">
      <dgm:prSet loTypeId="urn:microsoft.com/office/officeart/2016/7/layout/AccentHomeChevronProcess" loCatId="timeline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es-ES"/>
        </a:p>
      </dgm:t>
    </dgm:pt>
    <dgm:pt modelId="{25989B79-584C-4907-8A14-19BC8EDA7627}">
      <dgm:prSet phldrT="[Texto]" phldr="0" custT="1"/>
      <dgm:spPr/>
      <dgm:t>
        <a:bodyPr/>
        <a:lstStyle/>
        <a:p>
          <a:r>
            <a:rPr lang="en-GB" sz="1600" b="1" noProof="0" dirty="0">
              <a:latin typeface="Calibri"/>
            </a:rPr>
            <a:t>Elicitation</a:t>
          </a:r>
          <a:endParaRPr lang="en-GB" sz="1600" b="1" noProof="0" dirty="0"/>
        </a:p>
      </dgm:t>
    </dgm:pt>
    <dgm:pt modelId="{FE7CBE67-5690-4D32-8915-D1916D2BA17A}" type="parTrans" cxnId="{9A69DFCA-CBE0-4297-99E7-720D08E288FF}">
      <dgm:prSet/>
      <dgm:spPr/>
      <dgm:t>
        <a:bodyPr/>
        <a:lstStyle/>
        <a:p>
          <a:endParaRPr lang="en-GB" noProof="0" dirty="0"/>
        </a:p>
      </dgm:t>
    </dgm:pt>
    <dgm:pt modelId="{8E2AD973-E3D7-4190-87C1-CFBEE5D538F2}" type="sibTrans" cxnId="{9A69DFCA-CBE0-4297-99E7-720D08E288FF}">
      <dgm:prSet/>
      <dgm:spPr/>
      <dgm:t>
        <a:bodyPr/>
        <a:lstStyle/>
        <a:p>
          <a:endParaRPr lang="en-GB" noProof="0" dirty="0"/>
        </a:p>
      </dgm:t>
    </dgm:pt>
    <dgm:pt modelId="{5808CC48-502B-4903-8756-4FA5F3FD7F95}">
      <dgm:prSet phldrT="[Texto]" phldr="0" custT="1"/>
      <dgm:spPr/>
      <dgm:t>
        <a:bodyPr/>
        <a:lstStyle/>
        <a:p>
          <a:r>
            <a:rPr lang="en-GB" sz="1600" b="1" noProof="0" dirty="0">
              <a:latin typeface="Calibri"/>
            </a:rPr>
            <a:t>Knowledge</a:t>
          </a:r>
          <a:endParaRPr lang="en-GB" sz="1600" b="1" noProof="0" dirty="0"/>
        </a:p>
      </dgm:t>
    </dgm:pt>
    <dgm:pt modelId="{A0ED0D2F-408E-4D50-80EC-BFD43FE79820}" type="parTrans" cxnId="{380EF454-FBA5-48F6-8DD7-4A27F4866FBE}">
      <dgm:prSet/>
      <dgm:spPr/>
      <dgm:t>
        <a:bodyPr/>
        <a:lstStyle/>
        <a:p>
          <a:endParaRPr lang="en-GB" noProof="0" dirty="0"/>
        </a:p>
      </dgm:t>
    </dgm:pt>
    <dgm:pt modelId="{0155CB46-146D-4456-B08D-669F364BEC3F}" type="sibTrans" cxnId="{380EF454-FBA5-48F6-8DD7-4A27F4866FBE}">
      <dgm:prSet/>
      <dgm:spPr/>
      <dgm:t>
        <a:bodyPr/>
        <a:lstStyle/>
        <a:p>
          <a:endParaRPr lang="en-GB" noProof="0" dirty="0"/>
        </a:p>
      </dgm:t>
    </dgm:pt>
    <dgm:pt modelId="{A6298AF0-08A4-417A-8E5C-53486AB9E421}">
      <dgm:prSet phldrT="[Texto]" phldr="0" custT="1"/>
      <dgm:spPr/>
      <dgm:t>
        <a:bodyPr/>
        <a:lstStyle/>
        <a:p>
          <a:r>
            <a:rPr lang="en-GB" sz="1600" b="1" noProof="0" dirty="0">
              <a:latin typeface="Calibri"/>
            </a:rPr>
            <a:t>Specification</a:t>
          </a:r>
          <a:endParaRPr lang="en-GB" sz="1600" b="1" noProof="0" dirty="0"/>
        </a:p>
      </dgm:t>
    </dgm:pt>
    <dgm:pt modelId="{74921E90-2EE0-4E26-9A37-C56583B932C1}" type="parTrans" cxnId="{62C5E97A-A5E4-4363-A242-B594B1BC33C6}">
      <dgm:prSet/>
      <dgm:spPr/>
      <dgm:t>
        <a:bodyPr/>
        <a:lstStyle/>
        <a:p>
          <a:endParaRPr lang="en-GB" noProof="0" dirty="0"/>
        </a:p>
      </dgm:t>
    </dgm:pt>
    <dgm:pt modelId="{429EE379-00B6-4A9B-9E12-87FCEDC35178}" type="sibTrans" cxnId="{62C5E97A-A5E4-4363-A242-B594B1BC33C6}">
      <dgm:prSet/>
      <dgm:spPr/>
      <dgm:t>
        <a:bodyPr/>
        <a:lstStyle/>
        <a:p>
          <a:endParaRPr lang="en-GB" noProof="0" dirty="0"/>
        </a:p>
      </dgm:t>
    </dgm:pt>
    <dgm:pt modelId="{339467F9-3659-4081-A7AC-B98ED93707E1}">
      <dgm:prSet phldrT="[Texto]" phldr="0" custT="1"/>
      <dgm:spPr/>
      <dgm:t>
        <a:bodyPr/>
        <a:lstStyle/>
        <a:p>
          <a:pPr rtl="0"/>
          <a:r>
            <a:rPr lang="en-GB" sz="1600" b="1" noProof="0" dirty="0">
              <a:latin typeface="Calibri"/>
            </a:rPr>
            <a:t>Semantic requirements</a:t>
          </a:r>
          <a:endParaRPr lang="en-GB" sz="1600" b="1" noProof="0" dirty="0"/>
        </a:p>
      </dgm:t>
    </dgm:pt>
    <dgm:pt modelId="{A639055A-A97C-486C-90FB-AF4DC8595F6E}" type="parTrans" cxnId="{063AF777-9B27-4DA6-9A72-3388DDAAFAF0}">
      <dgm:prSet/>
      <dgm:spPr/>
      <dgm:t>
        <a:bodyPr/>
        <a:lstStyle/>
        <a:p>
          <a:endParaRPr lang="en-GB" noProof="0" dirty="0"/>
        </a:p>
      </dgm:t>
    </dgm:pt>
    <dgm:pt modelId="{86B0421F-1B97-4F0D-8055-E8A2A79FCA61}" type="sibTrans" cxnId="{063AF777-9B27-4DA6-9A72-3388DDAAFAF0}">
      <dgm:prSet/>
      <dgm:spPr/>
      <dgm:t>
        <a:bodyPr/>
        <a:lstStyle/>
        <a:p>
          <a:endParaRPr lang="en-GB" noProof="0" dirty="0"/>
        </a:p>
      </dgm:t>
    </dgm:pt>
    <dgm:pt modelId="{F7725B91-33A6-4C1A-A6D2-A48B9AAF3532}">
      <dgm:prSet phldrT="[Texto]" phldr="0" custT="1"/>
      <dgm:spPr/>
      <dgm:t>
        <a:bodyPr/>
        <a:lstStyle/>
        <a:p>
          <a:r>
            <a:rPr lang="en-GB" sz="1600" b="1" noProof="0" dirty="0">
              <a:latin typeface="Calibri"/>
            </a:rPr>
            <a:t>Standardisation</a:t>
          </a:r>
          <a:endParaRPr lang="en-GB" sz="1600" b="1" noProof="0" dirty="0"/>
        </a:p>
      </dgm:t>
    </dgm:pt>
    <dgm:pt modelId="{443473DC-A544-4218-8958-8B387ED754D6}" type="parTrans" cxnId="{1DDE760F-057A-4692-9D7A-3B88E7EEBB4D}">
      <dgm:prSet/>
      <dgm:spPr/>
      <dgm:t>
        <a:bodyPr/>
        <a:lstStyle/>
        <a:p>
          <a:endParaRPr lang="en-GB" noProof="0" dirty="0"/>
        </a:p>
      </dgm:t>
    </dgm:pt>
    <dgm:pt modelId="{A84D598E-0DB6-482A-B03A-601579D11741}" type="sibTrans" cxnId="{1DDE760F-057A-4692-9D7A-3B88E7EEBB4D}">
      <dgm:prSet/>
      <dgm:spPr/>
      <dgm:t>
        <a:bodyPr/>
        <a:lstStyle/>
        <a:p>
          <a:endParaRPr lang="en-GB" noProof="0" dirty="0"/>
        </a:p>
      </dgm:t>
    </dgm:pt>
    <dgm:pt modelId="{A85FF584-EC51-4DB8-AA50-3C298EBE5D51}">
      <dgm:prSet phldrT="[Texto]" phldr="0" custT="1"/>
      <dgm:spPr/>
      <dgm:t>
        <a:bodyPr/>
        <a:lstStyle/>
        <a:p>
          <a:r>
            <a:rPr lang="en-GB" sz="1600" b="1" noProof="0" dirty="0">
              <a:latin typeface="Calibri"/>
            </a:rPr>
            <a:t>Models</a:t>
          </a:r>
          <a:endParaRPr lang="en-GB" sz="1600" b="1" noProof="0" dirty="0"/>
        </a:p>
      </dgm:t>
    </dgm:pt>
    <dgm:pt modelId="{D5BBB105-55F0-49BA-B527-CFEDDBC047D4}" type="parTrans" cxnId="{B021971A-8CA7-41D9-8A56-2288F3E86D76}">
      <dgm:prSet/>
      <dgm:spPr/>
      <dgm:t>
        <a:bodyPr/>
        <a:lstStyle/>
        <a:p>
          <a:endParaRPr lang="en-GB" noProof="0" dirty="0"/>
        </a:p>
      </dgm:t>
    </dgm:pt>
    <dgm:pt modelId="{4564E3A4-F324-4565-B2CA-DEE12C8ADB68}" type="sibTrans" cxnId="{B021971A-8CA7-41D9-8A56-2288F3E86D76}">
      <dgm:prSet/>
      <dgm:spPr/>
      <dgm:t>
        <a:bodyPr/>
        <a:lstStyle/>
        <a:p>
          <a:endParaRPr lang="en-GB" noProof="0" dirty="0"/>
        </a:p>
      </dgm:t>
    </dgm:pt>
    <dgm:pt modelId="{DF358F95-1040-49FE-AF5D-3C77C06726E8}">
      <dgm:prSet phldr="0" custT="1"/>
      <dgm:spPr/>
      <dgm:t>
        <a:bodyPr/>
        <a:lstStyle/>
        <a:p>
          <a:r>
            <a:rPr lang="en-GB" sz="1600" b="1" noProof="0" dirty="0">
              <a:latin typeface="Calibri"/>
            </a:rPr>
            <a:t>Storage</a:t>
          </a:r>
        </a:p>
      </dgm:t>
    </dgm:pt>
    <dgm:pt modelId="{42FC39B1-FBD7-42DF-9AB3-16B0388A994B}" type="parTrans" cxnId="{40A2E5D2-221C-47FB-BFA9-088E29D8F98B}">
      <dgm:prSet/>
      <dgm:spPr/>
      <dgm:t>
        <a:bodyPr/>
        <a:lstStyle/>
        <a:p>
          <a:endParaRPr lang="en-GB" noProof="0" dirty="0"/>
        </a:p>
      </dgm:t>
    </dgm:pt>
    <dgm:pt modelId="{CDDBBBFD-63F0-4D39-896B-5253436F8644}" type="sibTrans" cxnId="{40A2E5D2-221C-47FB-BFA9-088E29D8F98B}">
      <dgm:prSet/>
      <dgm:spPr/>
      <dgm:t>
        <a:bodyPr/>
        <a:lstStyle/>
        <a:p>
          <a:endParaRPr lang="en-GB" noProof="0" dirty="0"/>
        </a:p>
      </dgm:t>
    </dgm:pt>
    <dgm:pt modelId="{2EBAA603-8171-411B-9F19-E1D63F2D56B2}">
      <dgm:prSet phldr="0" custT="1"/>
      <dgm:spPr/>
      <dgm:t>
        <a:bodyPr/>
        <a:lstStyle/>
        <a:p>
          <a:pPr rtl="0"/>
          <a:r>
            <a:rPr lang="en-GB" sz="1600" b="1" noProof="0" dirty="0">
              <a:latin typeface="Calibri"/>
            </a:rPr>
            <a:t>Semantic assets</a:t>
          </a:r>
        </a:p>
      </dgm:t>
    </dgm:pt>
    <dgm:pt modelId="{C2F7F667-B4D0-47CF-8980-1E771D6443B1}" type="parTrans" cxnId="{2D3E3636-4DB9-41EC-B1D2-13BD7C1F0E78}">
      <dgm:prSet/>
      <dgm:spPr/>
      <dgm:t>
        <a:bodyPr/>
        <a:lstStyle/>
        <a:p>
          <a:endParaRPr lang="en-GB" noProof="0" dirty="0"/>
        </a:p>
      </dgm:t>
    </dgm:pt>
    <dgm:pt modelId="{9E3F8628-D892-42DC-9A3F-A2CF8D088481}" type="sibTrans" cxnId="{2D3E3636-4DB9-41EC-B1D2-13BD7C1F0E78}">
      <dgm:prSet/>
      <dgm:spPr/>
      <dgm:t>
        <a:bodyPr/>
        <a:lstStyle/>
        <a:p>
          <a:endParaRPr lang="en-GB" noProof="0" dirty="0"/>
        </a:p>
      </dgm:t>
    </dgm:pt>
    <dgm:pt modelId="{A516C517-6A50-48DD-8367-15CA2B75C031}">
      <dgm:prSet phldr="0" custT="1"/>
      <dgm:spPr/>
      <dgm:t>
        <a:bodyPr/>
        <a:lstStyle/>
        <a:p>
          <a:r>
            <a:rPr lang="en-GB" sz="1600" b="1" noProof="0" dirty="0">
              <a:latin typeface="Calibri"/>
            </a:rPr>
            <a:t>Reuse</a:t>
          </a:r>
        </a:p>
      </dgm:t>
    </dgm:pt>
    <dgm:pt modelId="{CDA55E23-E4BF-4C35-B732-BB757ACC246B}" type="parTrans" cxnId="{25190315-6D6E-4C24-BC13-B83AFE79CFB4}">
      <dgm:prSet/>
      <dgm:spPr/>
      <dgm:t>
        <a:bodyPr/>
        <a:lstStyle/>
        <a:p>
          <a:endParaRPr lang="en-GB" noProof="0" dirty="0"/>
        </a:p>
      </dgm:t>
    </dgm:pt>
    <dgm:pt modelId="{B49EEC04-DF47-4732-B044-441AE2A56403}" type="sibTrans" cxnId="{25190315-6D6E-4C24-BC13-B83AFE79CFB4}">
      <dgm:prSet/>
      <dgm:spPr/>
      <dgm:t>
        <a:bodyPr/>
        <a:lstStyle/>
        <a:p>
          <a:endParaRPr lang="en-GB" noProof="0" dirty="0"/>
        </a:p>
      </dgm:t>
    </dgm:pt>
    <dgm:pt modelId="{4251D378-A55D-407F-A5F5-467B630A2EC5}">
      <dgm:prSet phldr="0" custT="1"/>
      <dgm:spPr/>
      <dgm:t>
        <a:bodyPr/>
        <a:lstStyle/>
        <a:p>
          <a:pPr rtl="0"/>
          <a:r>
            <a:rPr lang="en-GB" sz="1600" b="1" noProof="0" dirty="0">
              <a:latin typeface="Calibri"/>
            </a:rPr>
            <a:t>Artifacts for reusability</a:t>
          </a:r>
        </a:p>
      </dgm:t>
    </dgm:pt>
    <dgm:pt modelId="{BF716868-9E9F-4831-BFE0-0C90275300BD}" type="parTrans" cxnId="{BBB613BF-656D-4F84-B4E3-E1519BD742F7}">
      <dgm:prSet/>
      <dgm:spPr/>
      <dgm:t>
        <a:bodyPr/>
        <a:lstStyle/>
        <a:p>
          <a:endParaRPr lang="en-GB" noProof="0" dirty="0"/>
        </a:p>
      </dgm:t>
    </dgm:pt>
    <dgm:pt modelId="{13DB1DC1-2693-4B1F-9C67-B542C987394B}" type="sibTrans" cxnId="{BBB613BF-656D-4F84-B4E3-E1519BD742F7}">
      <dgm:prSet/>
      <dgm:spPr/>
      <dgm:t>
        <a:bodyPr/>
        <a:lstStyle/>
        <a:p>
          <a:endParaRPr lang="en-GB" noProof="0" dirty="0"/>
        </a:p>
      </dgm:t>
    </dgm:pt>
    <dgm:pt modelId="{E597557D-0C2B-4FED-A8F2-59F4F46E9676}" type="pres">
      <dgm:prSet presAssocID="{01667E4B-6311-490C-869E-33900BDC43C2}" presName="Name0" presStyleCnt="0">
        <dgm:presLayoutVars>
          <dgm:animLvl val="lvl"/>
          <dgm:resizeHandles val="exact"/>
        </dgm:presLayoutVars>
      </dgm:prSet>
      <dgm:spPr/>
    </dgm:pt>
    <dgm:pt modelId="{05331BD4-1322-4CD9-B02A-B7EF73323A96}" type="pres">
      <dgm:prSet presAssocID="{25989B79-584C-4907-8A14-19BC8EDA7627}" presName="composite" presStyleCnt="0"/>
      <dgm:spPr/>
    </dgm:pt>
    <dgm:pt modelId="{3B8634AE-9382-4BE3-9B95-0D0793A22176}" type="pres">
      <dgm:prSet presAssocID="{25989B79-584C-4907-8A14-19BC8EDA7627}" presName="L" presStyleLbl="solidFgAcc1" presStyleIdx="0" presStyleCnt="5">
        <dgm:presLayoutVars>
          <dgm:chMax val="0"/>
          <dgm:chPref val="0"/>
        </dgm:presLayoutVars>
      </dgm:prSet>
      <dgm:spPr/>
    </dgm:pt>
    <dgm:pt modelId="{30A5DB0C-CF82-4D1E-BB6C-1E3F5B6F27F3}" type="pres">
      <dgm:prSet presAssocID="{25989B79-584C-4907-8A14-19BC8EDA7627}" presName="parTx" presStyleLbl="alignNode1" presStyleIdx="0" presStyleCnt="5">
        <dgm:presLayoutVars>
          <dgm:chMax val="0"/>
          <dgm:chPref val="0"/>
          <dgm:bulletEnabled val="1"/>
        </dgm:presLayoutVars>
      </dgm:prSet>
      <dgm:spPr/>
    </dgm:pt>
    <dgm:pt modelId="{2FF527E9-85ED-4A7A-99D2-4D5974142F38}" type="pres">
      <dgm:prSet presAssocID="{25989B79-584C-4907-8A14-19BC8EDA7627}" presName="desTx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878490A5-8D77-484D-9793-D9401F9C6EAF}" type="pres">
      <dgm:prSet presAssocID="{25989B79-584C-4907-8A14-19BC8EDA7627}" presName="EmptyPlaceHolder" presStyleCnt="0"/>
      <dgm:spPr/>
    </dgm:pt>
    <dgm:pt modelId="{8FE84CEA-6E29-4E60-AC8D-0893770141A5}" type="pres">
      <dgm:prSet presAssocID="{8E2AD973-E3D7-4190-87C1-CFBEE5D538F2}" presName="space" presStyleCnt="0"/>
      <dgm:spPr/>
    </dgm:pt>
    <dgm:pt modelId="{621A5EE7-D4B6-4CA8-BB94-6236231B2A01}" type="pres">
      <dgm:prSet presAssocID="{A6298AF0-08A4-417A-8E5C-53486AB9E421}" presName="composite" presStyleCnt="0"/>
      <dgm:spPr/>
    </dgm:pt>
    <dgm:pt modelId="{7FBD3C80-E4F9-407B-B202-2F235FF1A51A}" type="pres">
      <dgm:prSet presAssocID="{A6298AF0-08A4-417A-8E5C-53486AB9E421}" presName="L" presStyleLbl="solidFgAcc1" presStyleIdx="1" presStyleCnt="5">
        <dgm:presLayoutVars>
          <dgm:chMax val="0"/>
          <dgm:chPref val="0"/>
        </dgm:presLayoutVars>
      </dgm:prSet>
      <dgm:spPr/>
    </dgm:pt>
    <dgm:pt modelId="{A0DC1EFD-B99E-4345-97CF-123D70167ABA}" type="pres">
      <dgm:prSet presAssocID="{A6298AF0-08A4-417A-8E5C-53486AB9E421}" presName="parTx" presStyleLbl="alignNode1" presStyleIdx="1" presStyleCnt="5">
        <dgm:presLayoutVars>
          <dgm:chMax val="0"/>
          <dgm:chPref val="0"/>
          <dgm:bulletEnabled val="1"/>
        </dgm:presLayoutVars>
      </dgm:prSet>
      <dgm:spPr/>
    </dgm:pt>
    <dgm:pt modelId="{F1FF8844-02EF-450D-ADE1-3644F9B5FD87}" type="pres">
      <dgm:prSet presAssocID="{A6298AF0-08A4-417A-8E5C-53486AB9E421}" presName="desTx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6FEAF093-5CCE-4F83-BE1B-F9E6156B32AA}" type="pres">
      <dgm:prSet presAssocID="{A6298AF0-08A4-417A-8E5C-53486AB9E421}" presName="EmptyPlaceHolder" presStyleCnt="0"/>
      <dgm:spPr/>
    </dgm:pt>
    <dgm:pt modelId="{F4270862-4A67-40F6-9ECD-F54FCB1C359A}" type="pres">
      <dgm:prSet presAssocID="{429EE379-00B6-4A9B-9E12-87FCEDC35178}" presName="space" presStyleCnt="0"/>
      <dgm:spPr/>
    </dgm:pt>
    <dgm:pt modelId="{D2AC0199-25A6-4CFF-A4C2-7FFC23132C4A}" type="pres">
      <dgm:prSet presAssocID="{F7725B91-33A6-4C1A-A6D2-A48B9AAF3532}" presName="composite" presStyleCnt="0"/>
      <dgm:spPr/>
    </dgm:pt>
    <dgm:pt modelId="{34649260-4BB5-46CA-A0BA-FE7206F4B7F9}" type="pres">
      <dgm:prSet presAssocID="{F7725B91-33A6-4C1A-A6D2-A48B9AAF3532}" presName="L" presStyleLbl="solidFgAcc1" presStyleIdx="2" presStyleCnt="5">
        <dgm:presLayoutVars>
          <dgm:chMax val="0"/>
          <dgm:chPref val="0"/>
        </dgm:presLayoutVars>
      </dgm:prSet>
      <dgm:spPr/>
    </dgm:pt>
    <dgm:pt modelId="{B16A274F-0B67-472D-B310-228B7BAC170F}" type="pres">
      <dgm:prSet presAssocID="{F7725B91-33A6-4C1A-A6D2-A48B9AAF3532}" presName="parTx" presStyleLbl="alignNode1" presStyleIdx="2" presStyleCnt="5">
        <dgm:presLayoutVars>
          <dgm:chMax val="0"/>
          <dgm:chPref val="0"/>
          <dgm:bulletEnabled val="1"/>
        </dgm:presLayoutVars>
      </dgm:prSet>
      <dgm:spPr/>
    </dgm:pt>
    <dgm:pt modelId="{2B24C709-6C19-41E8-8E81-BE373161F499}" type="pres">
      <dgm:prSet presAssocID="{F7725B91-33A6-4C1A-A6D2-A48B9AAF3532}" presName="desTx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CE90A192-2FCE-4062-8ECF-4E0BF297A45E}" type="pres">
      <dgm:prSet presAssocID="{F7725B91-33A6-4C1A-A6D2-A48B9AAF3532}" presName="EmptyPlaceHolder" presStyleCnt="0"/>
      <dgm:spPr/>
    </dgm:pt>
    <dgm:pt modelId="{E03BCF95-0D48-4300-B826-23EE10F01D72}" type="pres">
      <dgm:prSet presAssocID="{A84D598E-0DB6-482A-B03A-601579D11741}" presName="space" presStyleCnt="0"/>
      <dgm:spPr/>
    </dgm:pt>
    <dgm:pt modelId="{A7556691-0829-48FB-B784-F42807465915}" type="pres">
      <dgm:prSet presAssocID="{DF358F95-1040-49FE-AF5D-3C77C06726E8}" presName="composite" presStyleCnt="0"/>
      <dgm:spPr/>
    </dgm:pt>
    <dgm:pt modelId="{8199E5A5-5601-4DFB-ADB3-6141578405A6}" type="pres">
      <dgm:prSet presAssocID="{DF358F95-1040-49FE-AF5D-3C77C06726E8}" presName="L" presStyleLbl="solidFgAcc1" presStyleIdx="3" presStyleCnt="5">
        <dgm:presLayoutVars>
          <dgm:chMax val="0"/>
          <dgm:chPref val="0"/>
        </dgm:presLayoutVars>
      </dgm:prSet>
      <dgm:spPr/>
    </dgm:pt>
    <dgm:pt modelId="{E38F974B-D991-4F25-9D91-753D57AE37FE}" type="pres">
      <dgm:prSet presAssocID="{DF358F95-1040-49FE-AF5D-3C77C06726E8}" presName="parTx" presStyleLbl="alignNode1" presStyleIdx="3" presStyleCnt="5">
        <dgm:presLayoutVars>
          <dgm:chMax val="0"/>
          <dgm:chPref val="0"/>
          <dgm:bulletEnabled val="1"/>
        </dgm:presLayoutVars>
      </dgm:prSet>
      <dgm:spPr/>
    </dgm:pt>
    <dgm:pt modelId="{FDDF0CDF-D77C-425E-B32C-207FB25BAE39}" type="pres">
      <dgm:prSet presAssocID="{DF358F95-1040-49FE-AF5D-3C77C06726E8}" presName="desTx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548E0A68-063C-4310-B9B5-486D5C44544E}" type="pres">
      <dgm:prSet presAssocID="{DF358F95-1040-49FE-AF5D-3C77C06726E8}" presName="EmptyPlaceHolder" presStyleCnt="0"/>
      <dgm:spPr/>
    </dgm:pt>
    <dgm:pt modelId="{4117736E-1B9A-4596-A6B9-4A91BC559DB8}" type="pres">
      <dgm:prSet presAssocID="{CDDBBBFD-63F0-4D39-896B-5253436F8644}" presName="space" presStyleCnt="0"/>
      <dgm:spPr/>
    </dgm:pt>
    <dgm:pt modelId="{E3FA0BB2-6FF0-492E-8107-CCB921B25D2D}" type="pres">
      <dgm:prSet presAssocID="{A516C517-6A50-48DD-8367-15CA2B75C031}" presName="composite" presStyleCnt="0"/>
      <dgm:spPr/>
    </dgm:pt>
    <dgm:pt modelId="{5D95E395-F990-4162-881A-D7D1D96B8C2C}" type="pres">
      <dgm:prSet presAssocID="{A516C517-6A50-48DD-8367-15CA2B75C031}" presName="L" presStyleLbl="solidFgAcc1" presStyleIdx="4" presStyleCnt="5">
        <dgm:presLayoutVars>
          <dgm:chMax val="0"/>
          <dgm:chPref val="0"/>
        </dgm:presLayoutVars>
      </dgm:prSet>
      <dgm:spPr/>
    </dgm:pt>
    <dgm:pt modelId="{04607011-4B56-47A6-B333-A1C2EC9F9C6A}" type="pres">
      <dgm:prSet presAssocID="{A516C517-6A50-48DD-8367-15CA2B75C031}" presName="parTx" presStyleLbl="alignNode1" presStyleIdx="4" presStyleCnt="5">
        <dgm:presLayoutVars>
          <dgm:chMax val="0"/>
          <dgm:chPref val="0"/>
          <dgm:bulletEnabled val="1"/>
        </dgm:presLayoutVars>
      </dgm:prSet>
      <dgm:spPr/>
    </dgm:pt>
    <dgm:pt modelId="{F8607698-FD52-4D31-9D4E-E8DCBF6CF443}" type="pres">
      <dgm:prSet presAssocID="{A516C517-6A50-48DD-8367-15CA2B75C031}" presName="desTx" presStyleLbl="revTx" presStyleIdx="4" presStyleCnt="5">
        <dgm:presLayoutVars>
          <dgm:chMax val="0"/>
          <dgm:chPref val="0"/>
          <dgm:bulletEnabled val="1"/>
        </dgm:presLayoutVars>
      </dgm:prSet>
      <dgm:spPr/>
    </dgm:pt>
    <dgm:pt modelId="{DCB14754-7DF1-4C5D-92F5-3F2C86F25C5A}" type="pres">
      <dgm:prSet presAssocID="{A516C517-6A50-48DD-8367-15CA2B75C031}" presName="EmptyPlaceHolder" presStyleCnt="0"/>
      <dgm:spPr/>
    </dgm:pt>
  </dgm:ptLst>
  <dgm:cxnLst>
    <dgm:cxn modelId="{77752C04-675E-4352-AEC9-AFF85ADB4B2F}" type="presOf" srcId="{A516C517-6A50-48DD-8367-15CA2B75C031}" destId="{04607011-4B56-47A6-B333-A1C2EC9F9C6A}" srcOrd="0" destOrd="0" presId="urn:microsoft.com/office/officeart/2016/7/layout/AccentHomeChevronProcess"/>
    <dgm:cxn modelId="{1DDE760F-057A-4692-9D7A-3B88E7EEBB4D}" srcId="{01667E4B-6311-490C-869E-33900BDC43C2}" destId="{F7725B91-33A6-4C1A-A6D2-A48B9AAF3532}" srcOrd="2" destOrd="0" parTransId="{443473DC-A544-4218-8958-8B387ED754D6}" sibTransId="{A84D598E-0DB6-482A-B03A-601579D11741}"/>
    <dgm:cxn modelId="{25190315-6D6E-4C24-BC13-B83AFE79CFB4}" srcId="{01667E4B-6311-490C-869E-33900BDC43C2}" destId="{A516C517-6A50-48DD-8367-15CA2B75C031}" srcOrd="4" destOrd="0" parTransId="{CDA55E23-E4BF-4C35-B732-BB757ACC246B}" sibTransId="{B49EEC04-DF47-4732-B044-441AE2A56403}"/>
    <dgm:cxn modelId="{B021971A-8CA7-41D9-8A56-2288F3E86D76}" srcId="{F7725B91-33A6-4C1A-A6D2-A48B9AAF3532}" destId="{A85FF584-EC51-4DB8-AA50-3C298EBE5D51}" srcOrd="0" destOrd="0" parTransId="{D5BBB105-55F0-49BA-B527-CFEDDBC047D4}" sibTransId="{4564E3A4-F324-4565-B2CA-DEE12C8ADB68}"/>
    <dgm:cxn modelId="{2D3E3636-4DB9-41EC-B1D2-13BD7C1F0E78}" srcId="{DF358F95-1040-49FE-AF5D-3C77C06726E8}" destId="{2EBAA603-8171-411B-9F19-E1D63F2D56B2}" srcOrd="0" destOrd="0" parTransId="{C2F7F667-B4D0-47CF-8980-1E771D6443B1}" sibTransId="{9E3F8628-D892-42DC-9A3F-A2CF8D088481}"/>
    <dgm:cxn modelId="{62E4505D-69F8-4D99-A839-F410E345F0AC}" type="presOf" srcId="{A85FF584-EC51-4DB8-AA50-3C298EBE5D51}" destId="{2B24C709-6C19-41E8-8E81-BE373161F499}" srcOrd="0" destOrd="0" presId="urn:microsoft.com/office/officeart/2016/7/layout/AccentHomeChevronProcess"/>
    <dgm:cxn modelId="{AC821460-C009-40C6-8BC6-8678C661A907}" type="presOf" srcId="{4251D378-A55D-407F-A5F5-467B630A2EC5}" destId="{F8607698-FD52-4D31-9D4E-E8DCBF6CF443}" srcOrd="0" destOrd="0" presId="urn:microsoft.com/office/officeart/2016/7/layout/AccentHomeChevronProcess"/>
    <dgm:cxn modelId="{8302FB48-5E78-4090-9F21-327A4A2794BC}" type="presOf" srcId="{F7725B91-33A6-4C1A-A6D2-A48B9AAF3532}" destId="{B16A274F-0B67-472D-B310-228B7BAC170F}" srcOrd="0" destOrd="0" presId="urn:microsoft.com/office/officeart/2016/7/layout/AccentHomeChevronProcess"/>
    <dgm:cxn modelId="{380EF454-FBA5-48F6-8DD7-4A27F4866FBE}" srcId="{25989B79-584C-4907-8A14-19BC8EDA7627}" destId="{5808CC48-502B-4903-8756-4FA5F3FD7F95}" srcOrd="0" destOrd="0" parTransId="{A0ED0D2F-408E-4D50-80EC-BFD43FE79820}" sibTransId="{0155CB46-146D-4456-B08D-669F364BEC3F}"/>
    <dgm:cxn modelId="{063AF777-9B27-4DA6-9A72-3388DDAAFAF0}" srcId="{A6298AF0-08A4-417A-8E5C-53486AB9E421}" destId="{339467F9-3659-4081-A7AC-B98ED93707E1}" srcOrd="0" destOrd="0" parTransId="{A639055A-A97C-486C-90FB-AF4DC8595F6E}" sibTransId="{86B0421F-1B97-4F0D-8055-E8A2A79FCA61}"/>
    <dgm:cxn modelId="{62C5E97A-A5E4-4363-A242-B594B1BC33C6}" srcId="{01667E4B-6311-490C-869E-33900BDC43C2}" destId="{A6298AF0-08A4-417A-8E5C-53486AB9E421}" srcOrd="1" destOrd="0" parTransId="{74921E90-2EE0-4E26-9A37-C56583B932C1}" sibTransId="{429EE379-00B6-4A9B-9E12-87FCEDC35178}"/>
    <dgm:cxn modelId="{95888085-ABF7-4FBF-BBED-DEC43277957E}" type="presOf" srcId="{01667E4B-6311-490C-869E-33900BDC43C2}" destId="{E597557D-0C2B-4FED-A8F2-59F4F46E9676}" srcOrd="0" destOrd="0" presId="urn:microsoft.com/office/officeart/2016/7/layout/AccentHomeChevronProcess"/>
    <dgm:cxn modelId="{09A4E99F-D3F5-42D7-B24B-40039A349173}" type="presOf" srcId="{DF358F95-1040-49FE-AF5D-3C77C06726E8}" destId="{E38F974B-D991-4F25-9D91-753D57AE37FE}" srcOrd="0" destOrd="0" presId="urn:microsoft.com/office/officeart/2016/7/layout/AccentHomeChevronProcess"/>
    <dgm:cxn modelId="{F14F40B9-5428-4FAC-A6DE-9ADACD8F2C37}" type="presOf" srcId="{339467F9-3659-4081-A7AC-B98ED93707E1}" destId="{F1FF8844-02EF-450D-ADE1-3644F9B5FD87}" srcOrd="0" destOrd="0" presId="urn:microsoft.com/office/officeart/2016/7/layout/AccentHomeChevronProcess"/>
    <dgm:cxn modelId="{BBB613BF-656D-4F84-B4E3-E1519BD742F7}" srcId="{A516C517-6A50-48DD-8367-15CA2B75C031}" destId="{4251D378-A55D-407F-A5F5-467B630A2EC5}" srcOrd="0" destOrd="0" parTransId="{BF716868-9E9F-4831-BFE0-0C90275300BD}" sibTransId="{13DB1DC1-2693-4B1F-9C67-B542C987394B}"/>
    <dgm:cxn modelId="{9A69DFCA-CBE0-4297-99E7-720D08E288FF}" srcId="{01667E4B-6311-490C-869E-33900BDC43C2}" destId="{25989B79-584C-4907-8A14-19BC8EDA7627}" srcOrd="0" destOrd="0" parTransId="{FE7CBE67-5690-4D32-8915-D1916D2BA17A}" sibTransId="{8E2AD973-E3D7-4190-87C1-CFBEE5D538F2}"/>
    <dgm:cxn modelId="{40A2E5D2-221C-47FB-BFA9-088E29D8F98B}" srcId="{01667E4B-6311-490C-869E-33900BDC43C2}" destId="{DF358F95-1040-49FE-AF5D-3C77C06726E8}" srcOrd="3" destOrd="0" parTransId="{42FC39B1-FBD7-42DF-9AB3-16B0388A994B}" sibTransId="{CDDBBBFD-63F0-4D39-896B-5253436F8644}"/>
    <dgm:cxn modelId="{EF8020E5-918E-4082-B846-F16157C677E1}" type="presOf" srcId="{25989B79-584C-4907-8A14-19BC8EDA7627}" destId="{30A5DB0C-CF82-4D1E-BB6C-1E3F5B6F27F3}" srcOrd="0" destOrd="0" presId="urn:microsoft.com/office/officeart/2016/7/layout/AccentHomeChevronProcess"/>
    <dgm:cxn modelId="{3F5E2CE8-074E-461A-A7AC-3C73C6CEF1E6}" type="presOf" srcId="{A6298AF0-08A4-417A-8E5C-53486AB9E421}" destId="{A0DC1EFD-B99E-4345-97CF-123D70167ABA}" srcOrd="0" destOrd="0" presId="urn:microsoft.com/office/officeart/2016/7/layout/AccentHomeChevronProcess"/>
    <dgm:cxn modelId="{78E52BE9-0C8E-4A86-A701-8B416002C912}" type="presOf" srcId="{5808CC48-502B-4903-8756-4FA5F3FD7F95}" destId="{2FF527E9-85ED-4A7A-99D2-4D5974142F38}" srcOrd="0" destOrd="0" presId="urn:microsoft.com/office/officeart/2016/7/layout/AccentHomeChevronProcess"/>
    <dgm:cxn modelId="{259AA2EB-A352-47D8-86EB-1515C9E91D4C}" type="presOf" srcId="{2EBAA603-8171-411B-9F19-E1D63F2D56B2}" destId="{FDDF0CDF-D77C-425E-B32C-207FB25BAE39}" srcOrd="0" destOrd="0" presId="urn:microsoft.com/office/officeart/2016/7/layout/AccentHomeChevronProcess"/>
    <dgm:cxn modelId="{362E46C4-FB56-4B5C-8829-D8CC4A665D93}" type="presParOf" srcId="{E597557D-0C2B-4FED-A8F2-59F4F46E9676}" destId="{05331BD4-1322-4CD9-B02A-B7EF73323A96}" srcOrd="0" destOrd="0" presId="urn:microsoft.com/office/officeart/2016/7/layout/AccentHomeChevronProcess"/>
    <dgm:cxn modelId="{9936FD1A-F6D2-4809-8649-16B01ED7E452}" type="presParOf" srcId="{05331BD4-1322-4CD9-B02A-B7EF73323A96}" destId="{3B8634AE-9382-4BE3-9B95-0D0793A22176}" srcOrd="0" destOrd="0" presId="urn:microsoft.com/office/officeart/2016/7/layout/AccentHomeChevronProcess"/>
    <dgm:cxn modelId="{0BEBD425-3EF0-47DF-BC9C-DEFF73333E95}" type="presParOf" srcId="{05331BD4-1322-4CD9-B02A-B7EF73323A96}" destId="{30A5DB0C-CF82-4D1E-BB6C-1E3F5B6F27F3}" srcOrd="1" destOrd="0" presId="urn:microsoft.com/office/officeart/2016/7/layout/AccentHomeChevronProcess"/>
    <dgm:cxn modelId="{8D661B86-BD82-4EBD-BFAA-AB2BFDB408A1}" type="presParOf" srcId="{05331BD4-1322-4CD9-B02A-B7EF73323A96}" destId="{2FF527E9-85ED-4A7A-99D2-4D5974142F38}" srcOrd="2" destOrd="0" presId="urn:microsoft.com/office/officeart/2016/7/layout/AccentHomeChevronProcess"/>
    <dgm:cxn modelId="{183D6FD7-ADD2-49DE-A697-0247427A0950}" type="presParOf" srcId="{05331BD4-1322-4CD9-B02A-B7EF73323A96}" destId="{878490A5-8D77-484D-9793-D9401F9C6EAF}" srcOrd="3" destOrd="0" presId="urn:microsoft.com/office/officeart/2016/7/layout/AccentHomeChevronProcess"/>
    <dgm:cxn modelId="{5FF1F17E-C420-41D2-AC0E-92BE50B4C0DD}" type="presParOf" srcId="{E597557D-0C2B-4FED-A8F2-59F4F46E9676}" destId="{8FE84CEA-6E29-4E60-AC8D-0893770141A5}" srcOrd="1" destOrd="0" presId="urn:microsoft.com/office/officeart/2016/7/layout/AccentHomeChevronProcess"/>
    <dgm:cxn modelId="{6ABB288E-7C29-4F17-8DB3-45BE31AA8BA8}" type="presParOf" srcId="{E597557D-0C2B-4FED-A8F2-59F4F46E9676}" destId="{621A5EE7-D4B6-4CA8-BB94-6236231B2A01}" srcOrd="2" destOrd="0" presId="urn:microsoft.com/office/officeart/2016/7/layout/AccentHomeChevronProcess"/>
    <dgm:cxn modelId="{7CB80EE0-7149-449F-8301-AB2DD93B6164}" type="presParOf" srcId="{621A5EE7-D4B6-4CA8-BB94-6236231B2A01}" destId="{7FBD3C80-E4F9-407B-B202-2F235FF1A51A}" srcOrd="0" destOrd="0" presId="urn:microsoft.com/office/officeart/2016/7/layout/AccentHomeChevronProcess"/>
    <dgm:cxn modelId="{5038E47E-04B4-4A4E-9462-0C075ADB5234}" type="presParOf" srcId="{621A5EE7-D4B6-4CA8-BB94-6236231B2A01}" destId="{A0DC1EFD-B99E-4345-97CF-123D70167ABA}" srcOrd="1" destOrd="0" presId="urn:microsoft.com/office/officeart/2016/7/layout/AccentHomeChevronProcess"/>
    <dgm:cxn modelId="{A5DD8691-D43C-4CD0-A8DE-78BBAEB824EB}" type="presParOf" srcId="{621A5EE7-D4B6-4CA8-BB94-6236231B2A01}" destId="{F1FF8844-02EF-450D-ADE1-3644F9B5FD87}" srcOrd="2" destOrd="0" presId="urn:microsoft.com/office/officeart/2016/7/layout/AccentHomeChevronProcess"/>
    <dgm:cxn modelId="{B85C7D49-6521-4FED-B06F-AE750405871B}" type="presParOf" srcId="{621A5EE7-D4B6-4CA8-BB94-6236231B2A01}" destId="{6FEAF093-5CCE-4F83-BE1B-F9E6156B32AA}" srcOrd="3" destOrd="0" presId="urn:microsoft.com/office/officeart/2016/7/layout/AccentHomeChevronProcess"/>
    <dgm:cxn modelId="{1733F64B-4850-4D20-B426-5630B4A9E727}" type="presParOf" srcId="{E597557D-0C2B-4FED-A8F2-59F4F46E9676}" destId="{F4270862-4A67-40F6-9ECD-F54FCB1C359A}" srcOrd="3" destOrd="0" presId="urn:microsoft.com/office/officeart/2016/7/layout/AccentHomeChevronProcess"/>
    <dgm:cxn modelId="{7E04C0BA-D239-4919-84E7-53E54B1867E1}" type="presParOf" srcId="{E597557D-0C2B-4FED-A8F2-59F4F46E9676}" destId="{D2AC0199-25A6-4CFF-A4C2-7FFC23132C4A}" srcOrd="4" destOrd="0" presId="urn:microsoft.com/office/officeart/2016/7/layout/AccentHomeChevronProcess"/>
    <dgm:cxn modelId="{FC08947D-8C5C-4094-BE12-FE5B9D56EBB8}" type="presParOf" srcId="{D2AC0199-25A6-4CFF-A4C2-7FFC23132C4A}" destId="{34649260-4BB5-46CA-A0BA-FE7206F4B7F9}" srcOrd="0" destOrd="0" presId="urn:microsoft.com/office/officeart/2016/7/layout/AccentHomeChevronProcess"/>
    <dgm:cxn modelId="{B11FA2B6-CD42-402A-926A-6DDF372B99A6}" type="presParOf" srcId="{D2AC0199-25A6-4CFF-A4C2-7FFC23132C4A}" destId="{B16A274F-0B67-472D-B310-228B7BAC170F}" srcOrd="1" destOrd="0" presId="urn:microsoft.com/office/officeart/2016/7/layout/AccentHomeChevronProcess"/>
    <dgm:cxn modelId="{3973CC5F-9429-4BDF-88ED-37B658435B9D}" type="presParOf" srcId="{D2AC0199-25A6-4CFF-A4C2-7FFC23132C4A}" destId="{2B24C709-6C19-41E8-8E81-BE373161F499}" srcOrd="2" destOrd="0" presId="urn:microsoft.com/office/officeart/2016/7/layout/AccentHomeChevronProcess"/>
    <dgm:cxn modelId="{86AF8B95-1F02-410D-A3CF-58CB4B04F70D}" type="presParOf" srcId="{D2AC0199-25A6-4CFF-A4C2-7FFC23132C4A}" destId="{CE90A192-2FCE-4062-8ECF-4E0BF297A45E}" srcOrd="3" destOrd="0" presId="urn:microsoft.com/office/officeart/2016/7/layout/AccentHomeChevronProcess"/>
    <dgm:cxn modelId="{ED4AE86D-6959-473A-A6DC-8D96F217F182}" type="presParOf" srcId="{E597557D-0C2B-4FED-A8F2-59F4F46E9676}" destId="{E03BCF95-0D48-4300-B826-23EE10F01D72}" srcOrd="5" destOrd="0" presId="urn:microsoft.com/office/officeart/2016/7/layout/AccentHomeChevronProcess"/>
    <dgm:cxn modelId="{CC3CBC05-2BCD-4C1D-AA77-D9718E5BEE39}" type="presParOf" srcId="{E597557D-0C2B-4FED-A8F2-59F4F46E9676}" destId="{A7556691-0829-48FB-B784-F42807465915}" srcOrd="6" destOrd="0" presId="urn:microsoft.com/office/officeart/2016/7/layout/AccentHomeChevronProcess"/>
    <dgm:cxn modelId="{0640B09A-3C7E-4182-9D61-CC2524AA9B1A}" type="presParOf" srcId="{A7556691-0829-48FB-B784-F42807465915}" destId="{8199E5A5-5601-4DFB-ADB3-6141578405A6}" srcOrd="0" destOrd="0" presId="urn:microsoft.com/office/officeart/2016/7/layout/AccentHomeChevronProcess"/>
    <dgm:cxn modelId="{2D279769-FAC5-4ED2-ADF6-C5DC3658EFA6}" type="presParOf" srcId="{A7556691-0829-48FB-B784-F42807465915}" destId="{E38F974B-D991-4F25-9D91-753D57AE37FE}" srcOrd="1" destOrd="0" presId="urn:microsoft.com/office/officeart/2016/7/layout/AccentHomeChevronProcess"/>
    <dgm:cxn modelId="{2E8B9EEC-8B38-4C0F-8728-D521854E61F9}" type="presParOf" srcId="{A7556691-0829-48FB-B784-F42807465915}" destId="{FDDF0CDF-D77C-425E-B32C-207FB25BAE39}" srcOrd="2" destOrd="0" presId="urn:microsoft.com/office/officeart/2016/7/layout/AccentHomeChevronProcess"/>
    <dgm:cxn modelId="{34B1BB1B-E3AB-40E9-8A73-DD49EEB50281}" type="presParOf" srcId="{A7556691-0829-48FB-B784-F42807465915}" destId="{548E0A68-063C-4310-B9B5-486D5C44544E}" srcOrd="3" destOrd="0" presId="urn:microsoft.com/office/officeart/2016/7/layout/AccentHomeChevronProcess"/>
    <dgm:cxn modelId="{19582173-5A51-46D6-B0F0-7D300E35F432}" type="presParOf" srcId="{E597557D-0C2B-4FED-A8F2-59F4F46E9676}" destId="{4117736E-1B9A-4596-A6B9-4A91BC559DB8}" srcOrd="7" destOrd="0" presId="urn:microsoft.com/office/officeart/2016/7/layout/AccentHomeChevronProcess"/>
    <dgm:cxn modelId="{60112FA9-C1DE-4128-9013-ADDC029D221A}" type="presParOf" srcId="{E597557D-0C2B-4FED-A8F2-59F4F46E9676}" destId="{E3FA0BB2-6FF0-492E-8107-CCB921B25D2D}" srcOrd="8" destOrd="0" presId="urn:microsoft.com/office/officeart/2016/7/layout/AccentHomeChevronProcess"/>
    <dgm:cxn modelId="{C1941709-004A-4AA4-AECD-B9934E464F8C}" type="presParOf" srcId="{E3FA0BB2-6FF0-492E-8107-CCB921B25D2D}" destId="{5D95E395-F990-4162-881A-D7D1D96B8C2C}" srcOrd="0" destOrd="0" presId="urn:microsoft.com/office/officeart/2016/7/layout/AccentHomeChevronProcess"/>
    <dgm:cxn modelId="{A7E7A1D9-33A9-4279-BC53-03E3D2700EEF}" type="presParOf" srcId="{E3FA0BB2-6FF0-492E-8107-CCB921B25D2D}" destId="{04607011-4B56-47A6-B333-A1C2EC9F9C6A}" srcOrd="1" destOrd="0" presId="urn:microsoft.com/office/officeart/2016/7/layout/AccentHomeChevronProcess"/>
    <dgm:cxn modelId="{E8E73E1B-6F84-46D8-9DF5-51FBEC2F4C22}" type="presParOf" srcId="{E3FA0BB2-6FF0-492E-8107-CCB921B25D2D}" destId="{F8607698-FD52-4D31-9D4E-E8DCBF6CF443}" srcOrd="2" destOrd="0" presId="urn:microsoft.com/office/officeart/2016/7/layout/AccentHomeChevronProcess"/>
    <dgm:cxn modelId="{F75D1EE5-19C7-4A4A-91A2-7708F66687AF}" type="presParOf" srcId="{E3FA0BB2-6FF0-492E-8107-CCB921B25D2D}" destId="{DCB14754-7DF1-4C5D-92F5-3F2C86F25C5A}" srcOrd="3" destOrd="0" presId="urn:microsoft.com/office/officeart/2016/7/layout/AccentHomeChevro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D63ED7-13F3-4975-8AE4-92BDC8F14549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848D9B2-CD03-45E0-815C-A784CE65F67A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noProof="0" dirty="0"/>
            <a:t>Methodology</a:t>
          </a:r>
        </a:p>
      </dgm:t>
    </dgm:pt>
    <dgm:pt modelId="{114EF94C-C507-492D-A6EB-296C4A03F6C7}" type="parTrans" cxnId="{B3BAD7A4-AEAC-4327-A948-D829D6FA3B09}">
      <dgm:prSet/>
      <dgm:spPr/>
      <dgm:t>
        <a:bodyPr/>
        <a:lstStyle/>
        <a:p>
          <a:endParaRPr lang="en-US"/>
        </a:p>
      </dgm:t>
    </dgm:pt>
    <dgm:pt modelId="{536F5916-023E-4E3B-88EB-A6E7CD80E20C}" type="sibTrans" cxnId="{B3BAD7A4-AEAC-4327-A948-D829D6FA3B09}">
      <dgm:prSet/>
      <dgm:spPr/>
      <dgm:t>
        <a:bodyPr/>
        <a:lstStyle/>
        <a:p>
          <a:endParaRPr lang="en-US"/>
        </a:p>
      </dgm:t>
    </dgm:pt>
    <dgm:pt modelId="{9B0B465F-D410-40AD-9A23-C6C7362C93A6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noProof="0" dirty="0"/>
            <a:t>Socio - technical </a:t>
          </a:r>
        </a:p>
        <a:p>
          <a:pPr>
            <a:lnSpc>
              <a:spcPct val="100000"/>
            </a:lnSpc>
          </a:pPr>
          <a:r>
            <a:rPr lang="en-GB" noProof="0" dirty="0"/>
            <a:t>European - national</a:t>
          </a:r>
        </a:p>
      </dgm:t>
    </dgm:pt>
    <dgm:pt modelId="{458E8665-BE2A-4813-AC95-CD98730D8E73}" type="parTrans" cxnId="{8BF8EC9D-A199-476D-B461-571192673BDB}">
      <dgm:prSet/>
      <dgm:spPr/>
      <dgm:t>
        <a:bodyPr/>
        <a:lstStyle/>
        <a:p>
          <a:endParaRPr lang="en-US"/>
        </a:p>
      </dgm:t>
    </dgm:pt>
    <dgm:pt modelId="{731ED0BA-2055-4B7F-8398-6DFC78EF6BF1}" type="sibTrans" cxnId="{8BF8EC9D-A199-476D-B461-571192673BDB}">
      <dgm:prSet/>
      <dgm:spPr/>
      <dgm:t>
        <a:bodyPr/>
        <a:lstStyle/>
        <a:p>
          <a:endParaRPr lang="en-US"/>
        </a:p>
      </dgm:t>
    </dgm:pt>
    <dgm:pt modelId="{11F64576-A7F8-468C-BF87-B60396615102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noProof="0" dirty="0"/>
            <a:t>Agile – </a:t>
          </a:r>
          <a:r>
            <a:rPr lang="en-GB" noProof="0" dirty="0">
              <a:latin typeface="Calibri"/>
            </a:rPr>
            <a:t>Structured</a:t>
          </a:r>
          <a:endParaRPr lang="en-GB" noProof="0" dirty="0"/>
        </a:p>
      </dgm:t>
    </dgm:pt>
    <dgm:pt modelId="{21C01DB4-F6D1-40CB-9B8B-6D00A07571F6}" type="parTrans" cxnId="{7AF9FF4D-5416-4498-BDEB-8FBE3D7FF9AC}">
      <dgm:prSet/>
      <dgm:spPr/>
      <dgm:t>
        <a:bodyPr/>
        <a:lstStyle/>
        <a:p>
          <a:endParaRPr lang="en-US"/>
        </a:p>
      </dgm:t>
    </dgm:pt>
    <dgm:pt modelId="{EDBC0B27-F436-4B46-8FAE-BF47A1E9F387}" type="sibTrans" cxnId="{7AF9FF4D-5416-4498-BDEB-8FBE3D7FF9AC}">
      <dgm:prSet/>
      <dgm:spPr/>
      <dgm:t>
        <a:bodyPr/>
        <a:lstStyle/>
        <a:p>
          <a:endParaRPr lang="en-US"/>
        </a:p>
      </dgm:t>
    </dgm:pt>
    <dgm:pt modelId="{CC28DDF8-F521-4E0B-947F-E3EBA072F396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noProof="0" dirty="0"/>
            <a:t>Collaboration </a:t>
          </a:r>
          <a:r>
            <a:rPr lang="en-GB" noProof="0" dirty="0">
              <a:latin typeface="Calibri"/>
            </a:rPr>
            <a:t>– </a:t>
          </a:r>
          <a:r>
            <a:rPr lang="en-GB" noProof="0" dirty="0"/>
            <a:t>Traceability</a:t>
          </a:r>
          <a:endParaRPr lang="en-GB" noProof="0" dirty="0">
            <a:latin typeface="Calibri"/>
          </a:endParaRPr>
        </a:p>
      </dgm:t>
    </dgm:pt>
    <dgm:pt modelId="{F8426D0A-F1F5-46F3-BFAF-CFBA76BEDE69}" type="parTrans" cxnId="{9E662D9F-8D60-4C58-AD90-9BB91D4E4C02}">
      <dgm:prSet/>
      <dgm:spPr/>
      <dgm:t>
        <a:bodyPr/>
        <a:lstStyle/>
        <a:p>
          <a:endParaRPr lang="en-US"/>
        </a:p>
      </dgm:t>
    </dgm:pt>
    <dgm:pt modelId="{B1C1A83A-A513-479E-B288-CF22B5388535}" type="sibTrans" cxnId="{9E662D9F-8D60-4C58-AD90-9BB91D4E4C02}">
      <dgm:prSet/>
      <dgm:spPr/>
      <dgm:t>
        <a:bodyPr/>
        <a:lstStyle/>
        <a:p>
          <a:endParaRPr lang="en-US"/>
        </a:p>
      </dgm:t>
    </dgm:pt>
    <dgm:pt modelId="{FEF29696-20E4-4A32-B277-C8E15B6F3510}">
      <dgm:prSet phldr="0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noProof="0" dirty="0">
              <a:latin typeface="Calibri"/>
            </a:rPr>
            <a:t>Outcomes</a:t>
          </a:r>
          <a:endParaRPr lang="en-GB" noProof="0" dirty="0"/>
        </a:p>
      </dgm:t>
    </dgm:pt>
    <dgm:pt modelId="{B00F9AD4-CA33-4CEA-B397-AE911468E983}" type="parTrans" cxnId="{CDF83676-0DA7-41AA-A9E9-9E9E121C87A1}">
      <dgm:prSet/>
      <dgm:spPr/>
      <dgm:t>
        <a:bodyPr/>
        <a:lstStyle/>
        <a:p>
          <a:endParaRPr lang="en-US"/>
        </a:p>
      </dgm:t>
    </dgm:pt>
    <dgm:pt modelId="{B4BB2189-7717-4CB3-BFFB-96C5D0B4EF36}" type="sibTrans" cxnId="{CDF83676-0DA7-41AA-A9E9-9E9E121C87A1}">
      <dgm:prSet/>
      <dgm:spPr/>
      <dgm:t>
        <a:bodyPr/>
        <a:lstStyle/>
        <a:p>
          <a:endParaRPr lang="en-US"/>
        </a:p>
      </dgm:t>
    </dgm:pt>
    <dgm:pt modelId="{96CCBD8B-0298-4AC5-82E8-DB61D86EA15D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noProof="0" dirty="0"/>
            <a:t>Accuracy </a:t>
          </a:r>
        </a:p>
      </dgm:t>
    </dgm:pt>
    <dgm:pt modelId="{1768ACFE-8414-4916-A721-38DC8B5A4E5E}" type="parTrans" cxnId="{321851E2-4517-4268-AEBD-8B861DCA4480}">
      <dgm:prSet/>
      <dgm:spPr/>
      <dgm:t>
        <a:bodyPr/>
        <a:lstStyle/>
        <a:p>
          <a:endParaRPr lang="en-US"/>
        </a:p>
      </dgm:t>
    </dgm:pt>
    <dgm:pt modelId="{404FDA37-1032-4076-BCC5-45FE8D679A00}" type="sibTrans" cxnId="{321851E2-4517-4268-AEBD-8B861DCA4480}">
      <dgm:prSet/>
      <dgm:spPr/>
      <dgm:t>
        <a:bodyPr/>
        <a:lstStyle/>
        <a:p>
          <a:endParaRPr lang="en-US"/>
        </a:p>
      </dgm:t>
    </dgm:pt>
    <dgm:pt modelId="{7CA333AB-A52F-4C56-8BDD-01582575ED58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noProof="0" dirty="0">
              <a:latin typeface="+mn-lt"/>
            </a:rPr>
            <a:t>Contextualisation</a:t>
          </a:r>
          <a:endParaRPr lang="en-GB" noProof="0" dirty="0"/>
        </a:p>
      </dgm:t>
    </dgm:pt>
    <dgm:pt modelId="{67921814-B6E0-44C1-9386-FD7ACBBAF491}" type="parTrans" cxnId="{7458BFCA-6D6E-40A7-8DC8-B264E12B7693}">
      <dgm:prSet/>
      <dgm:spPr/>
      <dgm:t>
        <a:bodyPr/>
        <a:lstStyle/>
        <a:p>
          <a:endParaRPr lang="en-US"/>
        </a:p>
      </dgm:t>
    </dgm:pt>
    <dgm:pt modelId="{CE321EB7-F6E4-4DD9-81B0-7915067A2C60}" type="sibTrans" cxnId="{7458BFCA-6D6E-40A7-8DC8-B264E12B7693}">
      <dgm:prSet/>
      <dgm:spPr/>
      <dgm:t>
        <a:bodyPr/>
        <a:lstStyle/>
        <a:p>
          <a:endParaRPr lang="en-US"/>
        </a:p>
      </dgm:t>
    </dgm:pt>
    <dgm:pt modelId="{806889A3-B94F-4F5E-8F3F-049A4289F1EA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noProof="0" dirty="0"/>
            <a:t>Versioning </a:t>
          </a:r>
        </a:p>
      </dgm:t>
    </dgm:pt>
    <dgm:pt modelId="{B5B4F05E-276C-4C6E-95AC-766CD438E1FA}" type="parTrans" cxnId="{FF346296-86EA-4C3A-AD49-39912C311C9A}">
      <dgm:prSet/>
      <dgm:spPr/>
      <dgm:t>
        <a:bodyPr/>
        <a:lstStyle/>
        <a:p>
          <a:endParaRPr lang="en-US"/>
        </a:p>
      </dgm:t>
    </dgm:pt>
    <dgm:pt modelId="{470AD9E0-9438-438D-AEEE-6D34B86F50B0}" type="sibTrans" cxnId="{FF346296-86EA-4C3A-AD49-39912C311C9A}">
      <dgm:prSet/>
      <dgm:spPr/>
      <dgm:t>
        <a:bodyPr/>
        <a:lstStyle/>
        <a:p>
          <a:endParaRPr lang="en-US"/>
        </a:p>
      </dgm:t>
    </dgm:pt>
    <dgm:pt modelId="{E2B4A95E-869F-4CD4-A265-FFE51E5A997F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n-GB" noProof="0" dirty="0">
              <a:latin typeface="Calibri"/>
            </a:rPr>
            <a:t>Findability</a:t>
          </a:r>
        </a:p>
      </dgm:t>
    </dgm:pt>
    <dgm:pt modelId="{9FF7557E-9818-45E4-894F-6B404F8DBDF8}" type="parTrans" cxnId="{E602F34E-B56C-49D1-B359-1C6066D24E84}">
      <dgm:prSet/>
      <dgm:spPr/>
      <dgm:t>
        <a:bodyPr/>
        <a:lstStyle/>
        <a:p>
          <a:endParaRPr lang="es-ES"/>
        </a:p>
      </dgm:t>
    </dgm:pt>
    <dgm:pt modelId="{4CD5FBA0-5B0D-4FD0-8561-A2C92D89782B}" type="sibTrans" cxnId="{E602F34E-B56C-49D1-B359-1C6066D24E84}">
      <dgm:prSet/>
      <dgm:spPr/>
      <dgm:t>
        <a:bodyPr/>
        <a:lstStyle/>
        <a:p>
          <a:endParaRPr lang="es-ES"/>
        </a:p>
      </dgm:t>
    </dgm:pt>
    <dgm:pt modelId="{6B5AAA2F-4C5C-4B91-99CB-38A8A0BC88AC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n-GB" noProof="0" dirty="0">
              <a:latin typeface="Calibri"/>
            </a:rPr>
            <a:t>Elicitation - Creation</a:t>
          </a:r>
          <a:endParaRPr lang="en-GB" noProof="0" dirty="0"/>
        </a:p>
      </dgm:t>
    </dgm:pt>
    <dgm:pt modelId="{4C80A02C-B595-4CC2-A2D6-6A0CB0EBD0C7}" type="parTrans" cxnId="{66C341BB-C9CB-4037-891E-1A95346E1D82}">
      <dgm:prSet/>
      <dgm:spPr/>
      <dgm:t>
        <a:bodyPr/>
        <a:lstStyle/>
        <a:p>
          <a:endParaRPr lang="es-ES"/>
        </a:p>
      </dgm:t>
    </dgm:pt>
    <dgm:pt modelId="{D492A08F-B797-4E1B-B8EC-0A0CE8E78E22}" type="sibTrans" cxnId="{66C341BB-C9CB-4037-891E-1A95346E1D82}">
      <dgm:prSet/>
      <dgm:spPr/>
      <dgm:t>
        <a:bodyPr/>
        <a:lstStyle/>
        <a:p>
          <a:endParaRPr lang="es-ES"/>
        </a:p>
      </dgm:t>
    </dgm:pt>
    <dgm:pt modelId="{66F4281B-C252-4D5D-8A30-11CD37F4A768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noProof="0" dirty="0"/>
            <a:t>Multilingualism</a:t>
          </a:r>
        </a:p>
      </dgm:t>
    </dgm:pt>
    <dgm:pt modelId="{3CFDB776-80BF-4FF0-A2AC-8F77C90B97F5}" type="parTrans" cxnId="{C8468941-9AC7-44B0-B7A1-5C9A46561857}">
      <dgm:prSet/>
      <dgm:spPr/>
      <dgm:t>
        <a:bodyPr/>
        <a:lstStyle/>
        <a:p>
          <a:endParaRPr lang="en-GB"/>
        </a:p>
      </dgm:t>
    </dgm:pt>
    <dgm:pt modelId="{7A4DA6BF-58D8-4315-9B64-FB1C1DFDFF32}" type="sibTrans" cxnId="{C8468941-9AC7-44B0-B7A1-5C9A46561857}">
      <dgm:prSet/>
      <dgm:spPr/>
      <dgm:t>
        <a:bodyPr/>
        <a:lstStyle/>
        <a:p>
          <a:endParaRPr lang="en-GB"/>
        </a:p>
      </dgm:t>
    </dgm:pt>
    <dgm:pt modelId="{56DC1B4A-E201-46CA-96A5-1DE2C0CC820F}" type="pres">
      <dgm:prSet presAssocID="{BFD63ED7-13F3-4975-8AE4-92BDC8F14549}" presName="root" presStyleCnt="0">
        <dgm:presLayoutVars>
          <dgm:dir/>
          <dgm:resizeHandles val="exact"/>
        </dgm:presLayoutVars>
      </dgm:prSet>
      <dgm:spPr/>
    </dgm:pt>
    <dgm:pt modelId="{0578C556-2DDD-48FC-9E35-6CCA123F7569}" type="pres">
      <dgm:prSet presAssocID="{1848D9B2-CD03-45E0-815C-A784CE65F67A}" presName="compNode" presStyleCnt="0"/>
      <dgm:spPr/>
    </dgm:pt>
    <dgm:pt modelId="{875EE1F6-82ED-4CE4-AAC2-A83A63670EB8}" type="pres">
      <dgm:prSet presAssocID="{1848D9B2-CD03-45E0-815C-A784CE65F67A}" presName="iconRect" presStyleLbl="node1" presStyleIdx="0" presStyleCnt="2" custLinFactNeighborY="1162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824B5F86-6007-41F0-9BDA-9318F57DB8BD}" type="pres">
      <dgm:prSet presAssocID="{1848D9B2-CD03-45E0-815C-A784CE65F67A}" presName="iconSpace" presStyleCnt="0"/>
      <dgm:spPr/>
    </dgm:pt>
    <dgm:pt modelId="{359E1130-A620-4EDD-9A31-D78E2AFF26A3}" type="pres">
      <dgm:prSet presAssocID="{1848D9B2-CD03-45E0-815C-A784CE65F67A}" presName="parTx" presStyleLbl="revTx" presStyleIdx="0" presStyleCnt="4">
        <dgm:presLayoutVars>
          <dgm:chMax val="0"/>
          <dgm:chPref val="0"/>
        </dgm:presLayoutVars>
      </dgm:prSet>
      <dgm:spPr/>
    </dgm:pt>
    <dgm:pt modelId="{B3D91641-4D87-45BC-9D50-2E62228030C9}" type="pres">
      <dgm:prSet presAssocID="{1848D9B2-CD03-45E0-815C-A784CE65F67A}" presName="txSpace" presStyleCnt="0"/>
      <dgm:spPr/>
    </dgm:pt>
    <dgm:pt modelId="{E044F046-EFB0-4EFB-BF97-C41940FD3BAA}" type="pres">
      <dgm:prSet presAssocID="{1848D9B2-CD03-45E0-815C-A784CE65F67A}" presName="desTx" presStyleLbl="revTx" presStyleIdx="1" presStyleCnt="4">
        <dgm:presLayoutVars/>
      </dgm:prSet>
      <dgm:spPr/>
    </dgm:pt>
    <dgm:pt modelId="{E8E201ED-17FD-4023-BA5F-75B6E4AF8658}" type="pres">
      <dgm:prSet presAssocID="{536F5916-023E-4E3B-88EB-A6E7CD80E20C}" presName="sibTrans" presStyleCnt="0"/>
      <dgm:spPr/>
    </dgm:pt>
    <dgm:pt modelId="{18E9C011-FFFC-42AA-8BA9-C394BD512C93}" type="pres">
      <dgm:prSet presAssocID="{FEF29696-20E4-4A32-B277-C8E15B6F3510}" presName="compNode" presStyleCnt="0"/>
      <dgm:spPr/>
    </dgm:pt>
    <dgm:pt modelId="{FFEF2697-D71D-4F43-8D1F-0968E613DBB8}" type="pres">
      <dgm:prSet presAssocID="{FEF29696-20E4-4A32-B277-C8E15B6F3510}" presName="iconRect" presStyleLbl="node1" presStyleIdx="1" presStyleCnt="2" custLinFactNeighborY="1162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iana"/>
        </a:ext>
      </dgm:extLst>
    </dgm:pt>
    <dgm:pt modelId="{08760CB8-D442-436F-A22E-9931B454F82C}" type="pres">
      <dgm:prSet presAssocID="{FEF29696-20E4-4A32-B277-C8E15B6F3510}" presName="iconSpace" presStyleCnt="0"/>
      <dgm:spPr/>
    </dgm:pt>
    <dgm:pt modelId="{A12B18EC-7CCA-497A-8291-8ADF6784757D}" type="pres">
      <dgm:prSet presAssocID="{FEF29696-20E4-4A32-B277-C8E15B6F3510}" presName="parTx" presStyleLbl="revTx" presStyleIdx="2" presStyleCnt="4">
        <dgm:presLayoutVars>
          <dgm:chMax val="0"/>
          <dgm:chPref val="0"/>
        </dgm:presLayoutVars>
      </dgm:prSet>
      <dgm:spPr/>
    </dgm:pt>
    <dgm:pt modelId="{FC02854C-75B0-4504-8162-0A6B555EE51B}" type="pres">
      <dgm:prSet presAssocID="{FEF29696-20E4-4A32-B277-C8E15B6F3510}" presName="txSpace" presStyleCnt="0"/>
      <dgm:spPr/>
    </dgm:pt>
    <dgm:pt modelId="{C72A4A45-ED46-45C9-B744-AFEB0BF3D020}" type="pres">
      <dgm:prSet presAssocID="{FEF29696-20E4-4A32-B277-C8E15B6F3510}" presName="desTx" presStyleLbl="revTx" presStyleIdx="3" presStyleCnt="4">
        <dgm:presLayoutVars/>
      </dgm:prSet>
      <dgm:spPr/>
    </dgm:pt>
  </dgm:ptLst>
  <dgm:cxnLst>
    <dgm:cxn modelId="{3A4EA006-CEAF-44E3-ACC8-C9DFDFD115C1}" type="presOf" srcId="{66F4281B-C252-4D5D-8A30-11CD37F4A768}" destId="{C72A4A45-ED46-45C9-B744-AFEB0BF3D020}" srcOrd="0" destOrd="2" presId="urn:microsoft.com/office/officeart/2018/5/layout/CenteredIconLabelDescriptionList"/>
    <dgm:cxn modelId="{8EF83A0D-5964-4A7D-946E-4B6903B47E35}" type="presOf" srcId="{CC28DDF8-F521-4E0B-947F-E3EBA072F396}" destId="{E044F046-EFB0-4EFB-BF97-C41940FD3BAA}" srcOrd="0" destOrd="2" presId="urn:microsoft.com/office/officeart/2018/5/layout/CenteredIconLabelDescriptionList"/>
    <dgm:cxn modelId="{101E5B32-EEE9-4780-9158-ABE0E39B53C4}" type="presOf" srcId="{9B0B465F-D410-40AD-9A23-C6C7362C93A6}" destId="{E044F046-EFB0-4EFB-BF97-C41940FD3BAA}" srcOrd="0" destOrd="0" presId="urn:microsoft.com/office/officeart/2018/5/layout/CenteredIconLabelDescriptionList"/>
    <dgm:cxn modelId="{B7BBD260-C815-404F-90DC-BCCCE0F51A5C}" type="presOf" srcId="{BFD63ED7-13F3-4975-8AE4-92BDC8F14549}" destId="{56DC1B4A-E201-46CA-96A5-1DE2C0CC820F}" srcOrd="0" destOrd="0" presId="urn:microsoft.com/office/officeart/2018/5/layout/CenteredIconLabelDescriptionList"/>
    <dgm:cxn modelId="{C8468941-9AC7-44B0-B7A1-5C9A46561857}" srcId="{FEF29696-20E4-4A32-B277-C8E15B6F3510}" destId="{66F4281B-C252-4D5D-8A30-11CD37F4A768}" srcOrd="2" destOrd="0" parTransId="{3CFDB776-80BF-4FF0-A2AC-8F77C90B97F5}" sibTransId="{7A4DA6BF-58D8-4315-9B64-FB1C1DFDFF32}"/>
    <dgm:cxn modelId="{7AF9FF4D-5416-4498-BDEB-8FBE3D7FF9AC}" srcId="{1848D9B2-CD03-45E0-815C-A784CE65F67A}" destId="{11F64576-A7F8-468C-BF87-B60396615102}" srcOrd="1" destOrd="0" parTransId="{21C01DB4-F6D1-40CB-9B8B-6D00A07571F6}" sibTransId="{EDBC0B27-F436-4B46-8FAE-BF47A1E9F387}"/>
    <dgm:cxn modelId="{E602F34E-B56C-49D1-B359-1C6066D24E84}" srcId="{FEF29696-20E4-4A32-B277-C8E15B6F3510}" destId="{E2B4A95E-869F-4CD4-A265-FFE51E5A997F}" srcOrd="4" destOrd="0" parTransId="{9FF7557E-9818-45E4-894F-6B404F8DBDF8}" sibTransId="{4CD5FBA0-5B0D-4FD0-8561-A2C92D89782B}"/>
    <dgm:cxn modelId="{CDF83676-0DA7-41AA-A9E9-9E9E121C87A1}" srcId="{BFD63ED7-13F3-4975-8AE4-92BDC8F14549}" destId="{FEF29696-20E4-4A32-B277-C8E15B6F3510}" srcOrd="1" destOrd="0" parTransId="{B00F9AD4-CA33-4CEA-B397-AE911468E983}" sibTransId="{B4BB2189-7717-4CB3-BFFB-96C5D0B4EF36}"/>
    <dgm:cxn modelId="{2D613D85-AF9C-49C8-A61A-F79A1CF0C9AD}" type="presOf" srcId="{96CCBD8B-0298-4AC5-82E8-DB61D86EA15D}" destId="{C72A4A45-ED46-45C9-B744-AFEB0BF3D020}" srcOrd="0" destOrd="0" presId="urn:microsoft.com/office/officeart/2018/5/layout/CenteredIconLabelDescriptionList"/>
    <dgm:cxn modelId="{FF346296-86EA-4C3A-AD49-39912C311C9A}" srcId="{FEF29696-20E4-4A32-B277-C8E15B6F3510}" destId="{806889A3-B94F-4F5E-8F3F-049A4289F1EA}" srcOrd="3" destOrd="0" parTransId="{B5B4F05E-276C-4C6E-95AC-766CD438E1FA}" sibTransId="{470AD9E0-9438-438D-AEEE-6D34B86F50B0}"/>
    <dgm:cxn modelId="{8BF8EC9D-A199-476D-B461-571192673BDB}" srcId="{1848D9B2-CD03-45E0-815C-A784CE65F67A}" destId="{9B0B465F-D410-40AD-9A23-C6C7362C93A6}" srcOrd="0" destOrd="0" parTransId="{458E8665-BE2A-4813-AC95-CD98730D8E73}" sibTransId="{731ED0BA-2055-4B7F-8398-6DFC78EF6BF1}"/>
    <dgm:cxn modelId="{9E662D9F-8D60-4C58-AD90-9BB91D4E4C02}" srcId="{1848D9B2-CD03-45E0-815C-A784CE65F67A}" destId="{CC28DDF8-F521-4E0B-947F-E3EBA072F396}" srcOrd="2" destOrd="0" parTransId="{F8426D0A-F1F5-46F3-BFAF-CFBA76BEDE69}" sibTransId="{B1C1A83A-A513-479E-B288-CF22B5388535}"/>
    <dgm:cxn modelId="{7CA5AEA4-0EE8-4122-A229-F11547137527}" type="presOf" srcId="{806889A3-B94F-4F5E-8F3F-049A4289F1EA}" destId="{C72A4A45-ED46-45C9-B744-AFEB0BF3D020}" srcOrd="0" destOrd="3" presId="urn:microsoft.com/office/officeart/2018/5/layout/CenteredIconLabelDescriptionList"/>
    <dgm:cxn modelId="{B3BAD7A4-AEAC-4327-A948-D829D6FA3B09}" srcId="{BFD63ED7-13F3-4975-8AE4-92BDC8F14549}" destId="{1848D9B2-CD03-45E0-815C-A784CE65F67A}" srcOrd="0" destOrd="0" parTransId="{114EF94C-C507-492D-A6EB-296C4A03F6C7}" sibTransId="{536F5916-023E-4E3B-88EB-A6E7CD80E20C}"/>
    <dgm:cxn modelId="{B47B87AB-CD3A-46A0-84AF-847C4096ED09}" type="presOf" srcId="{7CA333AB-A52F-4C56-8BDD-01582575ED58}" destId="{C72A4A45-ED46-45C9-B744-AFEB0BF3D020}" srcOrd="0" destOrd="1" presId="urn:microsoft.com/office/officeart/2018/5/layout/CenteredIconLabelDescriptionList"/>
    <dgm:cxn modelId="{66C341BB-C9CB-4037-891E-1A95346E1D82}" srcId="{1848D9B2-CD03-45E0-815C-A784CE65F67A}" destId="{6B5AAA2F-4C5C-4B91-99CB-38A8A0BC88AC}" srcOrd="3" destOrd="0" parTransId="{4C80A02C-B595-4CC2-A2D6-6A0CB0EBD0C7}" sibTransId="{D492A08F-B797-4E1B-B8EC-0A0CE8E78E22}"/>
    <dgm:cxn modelId="{396225BC-CAE9-4E46-B3D5-C441DEF6CA04}" type="presOf" srcId="{FEF29696-20E4-4A32-B277-C8E15B6F3510}" destId="{A12B18EC-7CCA-497A-8291-8ADF6784757D}" srcOrd="0" destOrd="0" presId="urn:microsoft.com/office/officeart/2018/5/layout/CenteredIconLabelDescriptionList"/>
    <dgm:cxn modelId="{713086BF-22A0-40FC-864D-2D0496BF2F59}" type="presOf" srcId="{1848D9B2-CD03-45E0-815C-A784CE65F67A}" destId="{359E1130-A620-4EDD-9A31-D78E2AFF26A3}" srcOrd="0" destOrd="0" presId="urn:microsoft.com/office/officeart/2018/5/layout/CenteredIconLabelDescriptionList"/>
    <dgm:cxn modelId="{7458BFCA-6D6E-40A7-8DC8-B264E12B7693}" srcId="{FEF29696-20E4-4A32-B277-C8E15B6F3510}" destId="{7CA333AB-A52F-4C56-8BDD-01582575ED58}" srcOrd="1" destOrd="0" parTransId="{67921814-B6E0-44C1-9386-FD7ACBBAF491}" sibTransId="{CE321EB7-F6E4-4DD9-81B0-7915067A2C60}"/>
    <dgm:cxn modelId="{C9E541CE-1879-4FAB-A405-D838CACC0E64}" type="presOf" srcId="{11F64576-A7F8-468C-BF87-B60396615102}" destId="{E044F046-EFB0-4EFB-BF97-C41940FD3BAA}" srcOrd="0" destOrd="1" presId="urn:microsoft.com/office/officeart/2018/5/layout/CenteredIconLabelDescriptionList"/>
    <dgm:cxn modelId="{C0FCD7DE-87DC-4327-B231-310F48CE510F}" type="presOf" srcId="{E2B4A95E-869F-4CD4-A265-FFE51E5A997F}" destId="{C72A4A45-ED46-45C9-B744-AFEB0BF3D020}" srcOrd="0" destOrd="4" presId="urn:microsoft.com/office/officeart/2018/5/layout/CenteredIconLabelDescriptionList"/>
    <dgm:cxn modelId="{321851E2-4517-4268-AEBD-8B861DCA4480}" srcId="{FEF29696-20E4-4A32-B277-C8E15B6F3510}" destId="{96CCBD8B-0298-4AC5-82E8-DB61D86EA15D}" srcOrd="0" destOrd="0" parTransId="{1768ACFE-8414-4916-A721-38DC8B5A4E5E}" sibTransId="{404FDA37-1032-4076-BCC5-45FE8D679A00}"/>
    <dgm:cxn modelId="{D19089E9-C6DD-4CF2-984D-D9F9674EB4B5}" type="presOf" srcId="{6B5AAA2F-4C5C-4B91-99CB-38A8A0BC88AC}" destId="{E044F046-EFB0-4EFB-BF97-C41940FD3BAA}" srcOrd="0" destOrd="3" presId="urn:microsoft.com/office/officeart/2018/5/layout/CenteredIconLabelDescriptionList"/>
    <dgm:cxn modelId="{F4EE0D10-32DB-4D4E-8A04-EA3502BA39C8}" type="presParOf" srcId="{56DC1B4A-E201-46CA-96A5-1DE2C0CC820F}" destId="{0578C556-2DDD-48FC-9E35-6CCA123F7569}" srcOrd="0" destOrd="0" presId="urn:microsoft.com/office/officeart/2018/5/layout/CenteredIconLabelDescriptionList"/>
    <dgm:cxn modelId="{58F637A9-6F4F-4948-92B2-CAECE21DF12D}" type="presParOf" srcId="{0578C556-2DDD-48FC-9E35-6CCA123F7569}" destId="{875EE1F6-82ED-4CE4-AAC2-A83A63670EB8}" srcOrd="0" destOrd="0" presId="urn:microsoft.com/office/officeart/2018/5/layout/CenteredIconLabelDescriptionList"/>
    <dgm:cxn modelId="{486B19B7-A0B3-4558-BC40-DCFC9A13FB77}" type="presParOf" srcId="{0578C556-2DDD-48FC-9E35-6CCA123F7569}" destId="{824B5F86-6007-41F0-9BDA-9318F57DB8BD}" srcOrd="1" destOrd="0" presId="urn:microsoft.com/office/officeart/2018/5/layout/CenteredIconLabelDescriptionList"/>
    <dgm:cxn modelId="{1144F7C3-1EC6-48D6-89E1-218D4CA7520C}" type="presParOf" srcId="{0578C556-2DDD-48FC-9E35-6CCA123F7569}" destId="{359E1130-A620-4EDD-9A31-D78E2AFF26A3}" srcOrd="2" destOrd="0" presId="urn:microsoft.com/office/officeart/2018/5/layout/CenteredIconLabelDescriptionList"/>
    <dgm:cxn modelId="{5E18B5E5-6311-40A3-9088-DC6BE32CC80B}" type="presParOf" srcId="{0578C556-2DDD-48FC-9E35-6CCA123F7569}" destId="{B3D91641-4D87-45BC-9D50-2E62228030C9}" srcOrd="3" destOrd="0" presId="urn:microsoft.com/office/officeart/2018/5/layout/CenteredIconLabelDescriptionList"/>
    <dgm:cxn modelId="{01B63D72-136E-4CEB-8938-8DE6A208DB22}" type="presParOf" srcId="{0578C556-2DDD-48FC-9E35-6CCA123F7569}" destId="{E044F046-EFB0-4EFB-BF97-C41940FD3BAA}" srcOrd="4" destOrd="0" presId="urn:microsoft.com/office/officeart/2018/5/layout/CenteredIconLabelDescriptionList"/>
    <dgm:cxn modelId="{36BD150F-DE53-484D-BA34-723EC36AB2A1}" type="presParOf" srcId="{56DC1B4A-E201-46CA-96A5-1DE2C0CC820F}" destId="{E8E201ED-17FD-4023-BA5F-75B6E4AF8658}" srcOrd="1" destOrd="0" presId="urn:microsoft.com/office/officeart/2018/5/layout/CenteredIconLabelDescriptionList"/>
    <dgm:cxn modelId="{2941D13E-568B-45C8-9F3B-93A8DA242FB2}" type="presParOf" srcId="{56DC1B4A-E201-46CA-96A5-1DE2C0CC820F}" destId="{18E9C011-FFFC-42AA-8BA9-C394BD512C93}" srcOrd="2" destOrd="0" presId="urn:microsoft.com/office/officeart/2018/5/layout/CenteredIconLabelDescriptionList"/>
    <dgm:cxn modelId="{8108B2A0-60AE-4554-BB1E-11311A0F6AC5}" type="presParOf" srcId="{18E9C011-FFFC-42AA-8BA9-C394BD512C93}" destId="{FFEF2697-D71D-4F43-8D1F-0968E613DBB8}" srcOrd="0" destOrd="0" presId="urn:microsoft.com/office/officeart/2018/5/layout/CenteredIconLabelDescriptionList"/>
    <dgm:cxn modelId="{4C157A7F-5C35-4F13-A43C-A81E427DF68E}" type="presParOf" srcId="{18E9C011-FFFC-42AA-8BA9-C394BD512C93}" destId="{08760CB8-D442-436F-A22E-9931B454F82C}" srcOrd="1" destOrd="0" presId="urn:microsoft.com/office/officeart/2018/5/layout/CenteredIconLabelDescriptionList"/>
    <dgm:cxn modelId="{1DF680B9-5459-4017-AE2D-5831A9309903}" type="presParOf" srcId="{18E9C011-FFFC-42AA-8BA9-C394BD512C93}" destId="{A12B18EC-7CCA-497A-8291-8ADF6784757D}" srcOrd="2" destOrd="0" presId="urn:microsoft.com/office/officeart/2018/5/layout/CenteredIconLabelDescriptionList"/>
    <dgm:cxn modelId="{470B2750-C361-487E-8A94-272567AEED7E}" type="presParOf" srcId="{18E9C011-FFFC-42AA-8BA9-C394BD512C93}" destId="{FC02854C-75B0-4504-8162-0A6B555EE51B}" srcOrd="3" destOrd="0" presId="urn:microsoft.com/office/officeart/2018/5/layout/CenteredIconLabelDescriptionList"/>
    <dgm:cxn modelId="{9888A4A5-B7A2-495A-996F-16B574DD350B}" type="presParOf" srcId="{18E9C011-FFFC-42AA-8BA9-C394BD512C93}" destId="{C72A4A45-ED46-45C9-B744-AFEB0BF3D020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859BDFB-298F-400F-8B73-0C947AEE63A0}" type="doc">
      <dgm:prSet loTypeId="urn:microsoft.com/office/officeart/2005/8/layout/hierarchy1" loCatId="hierarchy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65804409-18C0-47FD-9D3A-7687C8BCE092}">
      <dgm:prSet/>
      <dgm:spPr/>
      <dgm:t>
        <a:bodyPr/>
        <a:lstStyle/>
        <a:p>
          <a:r>
            <a:rPr lang="en-GB" noProof="0" dirty="0"/>
            <a:t>Multilingualism for labels and descriptions</a:t>
          </a:r>
        </a:p>
      </dgm:t>
    </dgm:pt>
    <dgm:pt modelId="{461AE0D9-D7B3-4A06-80FC-700DF89F4CAF}" type="parTrans" cxnId="{C5921543-F30B-4776-8E6B-D1E92D581336}">
      <dgm:prSet/>
      <dgm:spPr/>
      <dgm:t>
        <a:bodyPr/>
        <a:lstStyle/>
        <a:p>
          <a:endParaRPr lang="en-GB" noProof="0" dirty="0"/>
        </a:p>
      </dgm:t>
    </dgm:pt>
    <dgm:pt modelId="{636361BD-619A-4778-9E21-25084975144E}" type="sibTrans" cxnId="{C5921543-F30B-4776-8E6B-D1E92D581336}">
      <dgm:prSet/>
      <dgm:spPr/>
      <dgm:t>
        <a:bodyPr/>
        <a:lstStyle/>
        <a:p>
          <a:endParaRPr lang="en-GB" noProof="0" dirty="0"/>
        </a:p>
      </dgm:t>
    </dgm:pt>
    <dgm:pt modelId="{A055AF55-6265-4C5F-9EFC-E32DF8983DEB}">
      <dgm:prSet/>
      <dgm:spPr/>
      <dgm:t>
        <a:bodyPr/>
        <a:lstStyle/>
        <a:p>
          <a:r>
            <a:rPr lang="en-GB" noProof="0" dirty="0"/>
            <a:t>Rich metadata for assets and their elements</a:t>
          </a:r>
        </a:p>
      </dgm:t>
    </dgm:pt>
    <dgm:pt modelId="{CC715453-0E37-42DC-859E-075F049B7F7C}" type="parTrans" cxnId="{24EF7BCD-38DD-446F-BE5B-809A0F14E195}">
      <dgm:prSet/>
      <dgm:spPr/>
      <dgm:t>
        <a:bodyPr/>
        <a:lstStyle/>
        <a:p>
          <a:endParaRPr lang="en-GB" noProof="0" dirty="0"/>
        </a:p>
      </dgm:t>
    </dgm:pt>
    <dgm:pt modelId="{1F685C7A-0F6A-40F0-BF36-5C52420C7153}" type="sibTrans" cxnId="{24EF7BCD-38DD-446F-BE5B-809A0F14E195}">
      <dgm:prSet/>
      <dgm:spPr/>
      <dgm:t>
        <a:bodyPr/>
        <a:lstStyle/>
        <a:p>
          <a:endParaRPr lang="en-GB" noProof="0" dirty="0"/>
        </a:p>
      </dgm:t>
    </dgm:pt>
    <dgm:pt modelId="{5647C5D4-5F36-4987-9233-1FE825AB97D6}" type="pres">
      <dgm:prSet presAssocID="{9859BDFB-298F-400F-8B73-0C947AEE63A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3E1BA012-F8CF-4A5C-81C7-FF52E52E4087}" type="pres">
      <dgm:prSet presAssocID="{65804409-18C0-47FD-9D3A-7687C8BCE092}" presName="hierRoot1" presStyleCnt="0"/>
      <dgm:spPr/>
    </dgm:pt>
    <dgm:pt modelId="{F56DB966-8F57-45EE-80BC-62F04E29686B}" type="pres">
      <dgm:prSet presAssocID="{65804409-18C0-47FD-9D3A-7687C8BCE092}" presName="composite" presStyleCnt="0"/>
      <dgm:spPr/>
    </dgm:pt>
    <dgm:pt modelId="{94551EE9-AA2F-4F31-867D-D534E70844C7}" type="pres">
      <dgm:prSet presAssocID="{65804409-18C0-47FD-9D3A-7687C8BCE092}" presName="background" presStyleLbl="node0" presStyleIdx="0" presStyleCnt="2"/>
      <dgm:spPr/>
    </dgm:pt>
    <dgm:pt modelId="{9765D81D-ED3F-420A-A744-00DF5D468222}" type="pres">
      <dgm:prSet presAssocID="{65804409-18C0-47FD-9D3A-7687C8BCE092}" presName="text" presStyleLbl="fgAcc0" presStyleIdx="0" presStyleCnt="2">
        <dgm:presLayoutVars>
          <dgm:chPref val="3"/>
        </dgm:presLayoutVars>
      </dgm:prSet>
      <dgm:spPr/>
    </dgm:pt>
    <dgm:pt modelId="{691E38CE-2F47-4F15-B69A-50E30C029F26}" type="pres">
      <dgm:prSet presAssocID="{65804409-18C0-47FD-9D3A-7687C8BCE092}" presName="hierChild2" presStyleCnt="0"/>
      <dgm:spPr/>
    </dgm:pt>
    <dgm:pt modelId="{C9A3B523-2942-4FF0-9089-C717247B1DE0}" type="pres">
      <dgm:prSet presAssocID="{A055AF55-6265-4C5F-9EFC-E32DF8983DEB}" presName="hierRoot1" presStyleCnt="0"/>
      <dgm:spPr/>
    </dgm:pt>
    <dgm:pt modelId="{459DB722-19B2-4F88-9664-8EC80107D3F6}" type="pres">
      <dgm:prSet presAssocID="{A055AF55-6265-4C5F-9EFC-E32DF8983DEB}" presName="composite" presStyleCnt="0"/>
      <dgm:spPr/>
    </dgm:pt>
    <dgm:pt modelId="{823F4AE1-4D8D-4D69-8008-170F4EC593E0}" type="pres">
      <dgm:prSet presAssocID="{A055AF55-6265-4C5F-9EFC-E32DF8983DEB}" presName="background" presStyleLbl="node0" presStyleIdx="1" presStyleCnt="2"/>
      <dgm:spPr/>
    </dgm:pt>
    <dgm:pt modelId="{C0D8B8D9-1408-4C3F-A02C-24487EB96F72}" type="pres">
      <dgm:prSet presAssocID="{A055AF55-6265-4C5F-9EFC-E32DF8983DEB}" presName="text" presStyleLbl="fgAcc0" presStyleIdx="1" presStyleCnt="2">
        <dgm:presLayoutVars>
          <dgm:chPref val="3"/>
        </dgm:presLayoutVars>
      </dgm:prSet>
      <dgm:spPr/>
    </dgm:pt>
    <dgm:pt modelId="{8422314E-83B0-4F3D-B205-CB63A38203D8}" type="pres">
      <dgm:prSet presAssocID="{A055AF55-6265-4C5F-9EFC-E32DF8983DEB}" presName="hierChild2" presStyleCnt="0"/>
      <dgm:spPr/>
    </dgm:pt>
  </dgm:ptLst>
  <dgm:cxnLst>
    <dgm:cxn modelId="{C5921543-F30B-4776-8E6B-D1E92D581336}" srcId="{9859BDFB-298F-400F-8B73-0C947AEE63A0}" destId="{65804409-18C0-47FD-9D3A-7687C8BCE092}" srcOrd="0" destOrd="0" parTransId="{461AE0D9-D7B3-4A06-80FC-700DF89F4CAF}" sibTransId="{636361BD-619A-4778-9E21-25084975144E}"/>
    <dgm:cxn modelId="{75070252-89B6-4F7C-B1A8-C056BEB2D130}" type="presOf" srcId="{9859BDFB-298F-400F-8B73-0C947AEE63A0}" destId="{5647C5D4-5F36-4987-9233-1FE825AB97D6}" srcOrd="0" destOrd="0" presId="urn:microsoft.com/office/officeart/2005/8/layout/hierarchy1"/>
    <dgm:cxn modelId="{04F1D58D-0F75-4289-9536-BAEA2565CC90}" type="presOf" srcId="{65804409-18C0-47FD-9D3A-7687C8BCE092}" destId="{9765D81D-ED3F-420A-A744-00DF5D468222}" srcOrd="0" destOrd="0" presId="urn:microsoft.com/office/officeart/2005/8/layout/hierarchy1"/>
    <dgm:cxn modelId="{731ED79C-D510-415C-B620-CFC51C3179DD}" type="presOf" srcId="{A055AF55-6265-4C5F-9EFC-E32DF8983DEB}" destId="{C0D8B8D9-1408-4C3F-A02C-24487EB96F72}" srcOrd="0" destOrd="0" presId="urn:microsoft.com/office/officeart/2005/8/layout/hierarchy1"/>
    <dgm:cxn modelId="{24EF7BCD-38DD-446F-BE5B-809A0F14E195}" srcId="{9859BDFB-298F-400F-8B73-0C947AEE63A0}" destId="{A055AF55-6265-4C5F-9EFC-E32DF8983DEB}" srcOrd="1" destOrd="0" parTransId="{CC715453-0E37-42DC-859E-075F049B7F7C}" sibTransId="{1F685C7A-0F6A-40F0-BF36-5C52420C7153}"/>
    <dgm:cxn modelId="{CB195256-1500-43AE-AC1F-7C2C13FAA5D4}" type="presParOf" srcId="{5647C5D4-5F36-4987-9233-1FE825AB97D6}" destId="{3E1BA012-F8CF-4A5C-81C7-FF52E52E4087}" srcOrd="0" destOrd="0" presId="urn:microsoft.com/office/officeart/2005/8/layout/hierarchy1"/>
    <dgm:cxn modelId="{FECEA3A4-CE45-4177-A26D-201CDED53B49}" type="presParOf" srcId="{3E1BA012-F8CF-4A5C-81C7-FF52E52E4087}" destId="{F56DB966-8F57-45EE-80BC-62F04E29686B}" srcOrd="0" destOrd="0" presId="urn:microsoft.com/office/officeart/2005/8/layout/hierarchy1"/>
    <dgm:cxn modelId="{74166A81-784B-4535-96C0-2CC5234C616D}" type="presParOf" srcId="{F56DB966-8F57-45EE-80BC-62F04E29686B}" destId="{94551EE9-AA2F-4F31-867D-D534E70844C7}" srcOrd="0" destOrd="0" presId="urn:microsoft.com/office/officeart/2005/8/layout/hierarchy1"/>
    <dgm:cxn modelId="{6120A83D-C5A0-437A-A061-D4C70EE5A7A7}" type="presParOf" srcId="{F56DB966-8F57-45EE-80BC-62F04E29686B}" destId="{9765D81D-ED3F-420A-A744-00DF5D468222}" srcOrd="1" destOrd="0" presId="urn:microsoft.com/office/officeart/2005/8/layout/hierarchy1"/>
    <dgm:cxn modelId="{3CBB1600-1E78-42BF-8222-7B2AB188429C}" type="presParOf" srcId="{3E1BA012-F8CF-4A5C-81C7-FF52E52E4087}" destId="{691E38CE-2F47-4F15-B69A-50E30C029F26}" srcOrd="1" destOrd="0" presId="urn:microsoft.com/office/officeart/2005/8/layout/hierarchy1"/>
    <dgm:cxn modelId="{16322749-238F-4BC1-A411-DAB09D831D2A}" type="presParOf" srcId="{5647C5D4-5F36-4987-9233-1FE825AB97D6}" destId="{C9A3B523-2942-4FF0-9089-C717247B1DE0}" srcOrd="1" destOrd="0" presId="urn:microsoft.com/office/officeart/2005/8/layout/hierarchy1"/>
    <dgm:cxn modelId="{84F027DE-74A7-4DDA-B52E-1502D500FC67}" type="presParOf" srcId="{C9A3B523-2942-4FF0-9089-C717247B1DE0}" destId="{459DB722-19B2-4F88-9664-8EC80107D3F6}" srcOrd="0" destOrd="0" presId="urn:microsoft.com/office/officeart/2005/8/layout/hierarchy1"/>
    <dgm:cxn modelId="{A82B2E01-FC8C-4250-8B2F-200BA90316D5}" type="presParOf" srcId="{459DB722-19B2-4F88-9664-8EC80107D3F6}" destId="{823F4AE1-4D8D-4D69-8008-170F4EC593E0}" srcOrd="0" destOrd="0" presId="urn:microsoft.com/office/officeart/2005/8/layout/hierarchy1"/>
    <dgm:cxn modelId="{32CB2B1B-B9D7-435E-B13B-DFBAD1DE1679}" type="presParOf" srcId="{459DB722-19B2-4F88-9664-8EC80107D3F6}" destId="{C0D8B8D9-1408-4C3F-A02C-24487EB96F72}" srcOrd="1" destOrd="0" presId="urn:microsoft.com/office/officeart/2005/8/layout/hierarchy1"/>
    <dgm:cxn modelId="{D16F98BC-DF29-4C8C-80D3-6A4C0334ECD4}" type="presParOf" srcId="{C9A3B523-2942-4FF0-9089-C717247B1DE0}" destId="{8422314E-83B0-4F3D-B205-CB63A38203D8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8634AE-9382-4BE3-9B95-0D0793A22176}">
      <dsp:nvSpPr>
        <dsp:cNvPr id="0" name=""/>
        <dsp:cNvSpPr/>
      </dsp:nvSpPr>
      <dsp:spPr>
        <a:xfrm rot="5400000">
          <a:off x="-717901" y="1425205"/>
          <a:ext cx="1587522" cy="148242"/>
        </a:xfrm>
        <a:prstGeom prst="corner">
          <a:avLst>
            <a:gd name="adj1" fmla="val 1000"/>
            <a:gd name="adj2" fmla="val 1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30A5DB0C-CF82-4D1E-BB6C-1E3F5B6F27F3}">
      <dsp:nvSpPr>
        <dsp:cNvPr id="0" name=""/>
        <dsp:cNvSpPr/>
      </dsp:nvSpPr>
      <dsp:spPr>
        <a:xfrm>
          <a:off x="1737" y="2293087"/>
          <a:ext cx="1853031" cy="529174"/>
        </a:xfrm>
        <a:prstGeom prst="homePlate">
          <a:avLst>
            <a:gd name="adj" fmla="val 25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0" tIns="203200" rIns="101600" bIns="2032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noProof="0" dirty="0">
              <a:latin typeface="Calibri"/>
            </a:rPr>
            <a:t>Elicitation</a:t>
          </a:r>
          <a:endParaRPr lang="en-GB" sz="1600" b="1" kern="1200" noProof="0" dirty="0"/>
        </a:p>
      </dsp:txBody>
      <dsp:txXfrm>
        <a:off x="1737" y="2293087"/>
        <a:ext cx="1786884" cy="529174"/>
      </dsp:txXfrm>
    </dsp:sp>
    <dsp:sp modelId="{2FF527E9-85ED-4A7A-99D2-4D5974142F38}">
      <dsp:nvSpPr>
        <dsp:cNvPr id="0" name=""/>
        <dsp:cNvSpPr/>
      </dsp:nvSpPr>
      <dsp:spPr>
        <a:xfrm>
          <a:off x="149980" y="794510"/>
          <a:ext cx="1504661" cy="1071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noProof="0" dirty="0">
              <a:latin typeface="Calibri"/>
            </a:rPr>
            <a:t>Knowledge</a:t>
          </a:r>
          <a:endParaRPr lang="en-GB" sz="1600" b="1" kern="1200" noProof="0" dirty="0"/>
        </a:p>
      </dsp:txBody>
      <dsp:txXfrm>
        <a:off x="149980" y="794510"/>
        <a:ext cx="1504661" cy="1071471"/>
      </dsp:txXfrm>
    </dsp:sp>
    <dsp:sp modelId="{7FBD3C80-E4F9-407B-B202-2F235FF1A51A}">
      <dsp:nvSpPr>
        <dsp:cNvPr id="0" name=""/>
        <dsp:cNvSpPr/>
      </dsp:nvSpPr>
      <dsp:spPr>
        <a:xfrm rot="5400000">
          <a:off x="1042477" y="1425205"/>
          <a:ext cx="1587522" cy="148242"/>
        </a:xfrm>
        <a:prstGeom prst="corner">
          <a:avLst>
            <a:gd name="adj1" fmla="val 1000"/>
            <a:gd name="adj2" fmla="val 1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-2144157"/>
              <a:satOff val="-11361"/>
              <a:lumOff val="612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A0DC1EFD-B99E-4345-97CF-123D70167ABA}">
      <dsp:nvSpPr>
        <dsp:cNvPr id="0" name=""/>
        <dsp:cNvSpPr/>
      </dsp:nvSpPr>
      <dsp:spPr>
        <a:xfrm>
          <a:off x="1762117" y="2293087"/>
          <a:ext cx="1853031" cy="529174"/>
        </a:xfrm>
        <a:prstGeom prst="chevron">
          <a:avLst>
            <a:gd name="adj" fmla="val 25000"/>
          </a:avLst>
        </a:prstGeom>
        <a:gradFill rotWithShape="0">
          <a:gsLst>
            <a:gs pos="0">
              <a:schemeClr val="accent3">
                <a:hueOff val="-2144157"/>
                <a:satOff val="-11361"/>
                <a:lumOff val="6128"/>
                <a:alphaOff val="0"/>
                <a:tint val="50000"/>
                <a:satMod val="300000"/>
              </a:schemeClr>
            </a:gs>
            <a:gs pos="35000">
              <a:schemeClr val="accent3">
                <a:hueOff val="-2144157"/>
                <a:satOff val="-11361"/>
                <a:lumOff val="6128"/>
                <a:alphaOff val="0"/>
                <a:tint val="37000"/>
                <a:satMod val="300000"/>
              </a:schemeClr>
            </a:gs>
            <a:gs pos="100000">
              <a:schemeClr val="accent3">
                <a:hueOff val="-2144157"/>
                <a:satOff val="-11361"/>
                <a:lumOff val="6128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-2144157"/>
              <a:satOff val="-11361"/>
              <a:lumOff val="6128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0" tIns="203200" rIns="101600" bIns="2032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noProof="0" dirty="0">
              <a:latin typeface="Calibri"/>
            </a:rPr>
            <a:t>Specification</a:t>
          </a:r>
          <a:endParaRPr lang="en-GB" sz="1600" b="1" kern="1200" noProof="0" dirty="0"/>
        </a:p>
      </dsp:txBody>
      <dsp:txXfrm>
        <a:off x="1894411" y="2293087"/>
        <a:ext cx="1588444" cy="529174"/>
      </dsp:txXfrm>
    </dsp:sp>
    <dsp:sp modelId="{F1FF8844-02EF-450D-ADE1-3644F9B5FD87}">
      <dsp:nvSpPr>
        <dsp:cNvPr id="0" name=""/>
        <dsp:cNvSpPr/>
      </dsp:nvSpPr>
      <dsp:spPr>
        <a:xfrm>
          <a:off x="1910359" y="794510"/>
          <a:ext cx="1504661" cy="1071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noProof="0" dirty="0">
              <a:latin typeface="Calibri"/>
            </a:rPr>
            <a:t>Semantic requirements</a:t>
          </a:r>
          <a:endParaRPr lang="en-GB" sz="1600" b="1" kern="1200" noProof="0" dirty="0"/>
        </a:p>
      </dsp:txBody>
      <dsp:txXfrm>
        <a:off x="1910359" y="794510"/>
        <a:ext cx="1504661" cy="1071471"/>
      </dsp:txXfrm>
    </dsp:sp>
    <dsp:sp modelId="{34649260-4BB5-46CA-A0BA-FE7206F4B7F9}">
      <dsp:nvSpPr>
        <dsp:cNvPr id="0" name=""/>
        <dsp:cNvSpPr/>
      </dsp:nvSpPr>
      <dsp:spPr>
        <a:xfrm rot="5400000">
          <a:off x="2802857" y="1425205"/>
          <a:ext cx="1587522" cy="148242"/>
        </a:xfrm>
        <a:prstGeom prst="corner">
          <a:avLst>
            <a:gd name="adj1" fmla="val 1000"/>
            <a:gd name="adj2" fmla="val 1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-4288315"/>
              <a:satOff val="-22723"/>
              <a:lumOff val="1225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B16A274F-0B67-472D-B310-228B7BAC170F}">
      <dsp:nvSpPr>
        <dsp:cNvPr id="0" name=""/>
        <dsp:cNvSpPr/>
      </dsp:nvSpPr>
      <dsp:spPr>
        <a:xfrm>
          <a:off x="3522496" y="2293087"/>
          <a:ext cx="1853031" cy="529174"/>
        </a:xfrm>
        <a:prstGeom prst="chevron">
          <a:avLst>
            <a:gd name="adj" fmla="val 25000"/>
          </a:avLst>
        </a:prstGeom>
        <a:gradFill rotWithShape="0">
          <a:gsLst>
            <a:gs pos="0">
              <a:schemeClr val="accent3">
                <a:hueOff val="-4288315"/>
                <a:satOff val="-22723"/>
                <a:lumOff val="12256"/>
                <a:alphaOff val="0"/>
                <a:tint val="50000"/>
                <a:satMod val="300000"/>
              </a:schemeClr>
            </a:gs>
            <a:gs pos="35000">
              <a:schemeClr val="accent3">
                <a:hueOff val="-4288315"/>
                <a:satOff val="-22723"/>
                <a:lumOff val="12256"/>
                <a:alphaOff val="0"/>
                <a:tint val="37000"/>
                <a:satMod val="300000"/>
              </a:schemeClr>
            </a:gs>
            <a:gs pos="100000">
              <a:schemeClr val="accent3">
                <a:hueOff val="-4288315"/>
                <a:satOff val="-22723"/>
                <a:lumOff val="12256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-4288315"/>
              <a:satOff val="-22723"/>
              <a:lumOff val="12256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0" tIns="203200" rIns="101600" bIns="2032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noProof="0" dirty="0">
              <a:latin typeface="Calibri"/>
            </a:rPr>
            <a:t>Standardisation</a:t>
          </a:r>
          <a:endParaRPr lang="en-GB" sz="1600" b="1" kern="1200" noProof="0" dirty="0"/>
        </a:p>
      </dsp:txBody>
      <dsp:txXfrm>
        <a:off x="3654790" y="2293087"/>
        <a:ext cx="1588444" cy="529174"/>
      </dsp:txXfrm>
    </dsp:sp>
    <dsp:sp modelId="{2B24C709-6C19-41E8-8E81-BE373161F499}">
      <dsp:nvSpPr>
        <dsp:cNvPr id="0" name=""/>
        <dsp:cNvSpPr/>
      </dsp:nvSpPr>
      <dsp:spPr>
        <a:xfrm>
          <a:off x="3670739" y="794510"/>
          <a:ext cx="1504661" cy="1071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noProof="0" dirty="0">
              <a:latin typeface="Calibri"/>
            </a:rPr>
            <a:t>Models</a:t>
          </a:r>
          <a:endParaRPr lang="en-GB" sz="1600" b="1" kern="1200" noProof="0" dirty="0"/>
        </a:p>
      </dsp:txBody>
      <dsp:txXfrm>
        <a:off x="3670739" y="794510"/>
        <a:ext cx="1504661" cy="1071471"/>
      </dsp:txXfrm>
    </dsp:sp>
    <dsp:sp modelId="{8199E5A5-5601-4DFB-ADB3-6141578405A6}">
      <dsp:nvSpPr>
        <dsp:cNvPr id="0" name=""/>
        <dsp:cNvSpPr/>
      </dsp:nvSpPr>
      <dsp:spPr>
        <a:xfrm rot="5400000">
          <a:off x="4563236" y="1425205"/>
          <a:ext cx="1587522" cy="148242"/>
        </a:xfrm>
        <a:prstGeom prst="corner">
          <a:avLst>
            <a:gd name="adj1" fmla="val 1000"/>
            <a:gd name="adj2" fmla="val 1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-6432472"/>
              <a:satOff val="-34084"/>
              <a:lumOff val="18383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E38F974B-D991-4F25-9D91-753D57AE37FE}">
      <dsp:nvSpPr>
        <dsp:cNvPr id="0" name=""/>
        <dsp:cNvSpPr/>
      </dsp:nvSpPr>
      <dsp:spPr>
        <a:xfrm>
          <a:off x="5282876" y="2293087"/>
          <a:ext cx="1853031" cy="529174"/>
        </a:xfrm>
        <a:prstGeom prst="chevron">
          <a:avLst>
            <a:gd name="adj" fmla="val 25000"/>
          </a:avLst>
        </a:prstGeom>
        <a:gradFill rotWithShape="0">
          <a:gsLst>
            <a:gs pos="0">
              <a:schemeClr val="accent3">
                <a:hueOff val="-6432472"/>
                <a:satOff val="-34084"/>
                <a:lumOff val="18383"/>
                <a:alphaOff val="0"/>
                <a:tint val="50000"/>
                <a:satMod val="300000"/>
              </a:schemeClr>
            </a:gs>
            <a:gs pos="35000">
              <a:schemeClr val="accent3">
                <a:hueOff val="-6432472"/>
                <a:satOff val="-34084"/>
                <a:lumOff val="18383"/>
                <a:alphaOff val="0"/>
                <a:tint val="37000"/>
                <a:satMod val="300000"/>
              </a:schemeClr>
            </a:gs>
            <a:gs pos="100000">
              <a:schemeClr val="accent3">
                <a:hueOff val="-6432472"/>
                <a:satOff val="-34084"/>
                <a:lumOff val="18383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-6432472"/>
              <a:satOff val="-34084"/>
              <a:lumOff val="18383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0" tIns="203200" rIns="101600" bIns="2032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noProof="0" dirty="0">
              <a:latin typeface="Calibri"/>
            </a:rPr>
            <a:t>Storage</a:t>
          </a:r>
        </a:p>
      </dsp:txBody>
      <dsp:txXfrm>
        <a:off x="5415170" y="2293087"/>
        <a:ext cx="1588444" cy="529174"/>
      </dsp:txXfrm>
    </dsp:sp>
    <dsp:sp modelId="{FDDF0CDF-D77C-425E-B32C-207FB25BAE39}">
      <dsp:nvSpPr>
        <dsp:cNvPr id="0" name=""/>
        <dsp:cNvSpPr/>
      </dsp:nvSpPr>
      <dsp:spPr>
        <a:xfrm>
          <a:off x="5431118" y="794510"/>
          <a:ext cx="1504661" cy="1071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noProof="0" dirty="0">
              <a:latin typeface="Calibri"/>
            </a:rPr>
            <a:t>Semantic assets</a:t>
          </a:r>
        </a:p>
      </dsp:txBody>
      <dsp:txXfrm>
        <a:off x="5431118" y="794510"/>
        <a:ext cx="1504661" cy="1071471"/>
      </dsp:txXfrm>
    </dsp:sp>
    <dsp:sp modelId="{5D95E395-F990-4162-881A-D7D1D96B8C2C}">
      <dsp:nvSpPr>
        <dsp:cNvPr id="0" name=""/>
        <dsp:cNvSpPr/>
      </dsp:nvSpPr>
      <dsp:spPr>
        <a:xfrm rot="5400000">
          <a:off x="6323616" y="1425205"/>
          <a:ext cx="1587522" cy="148242"/>
        </a:xfrm>
        <a:prstGeom prst="corner">
          <a:avLst>
            <a:gd name="adj1" fmla="val 1000"/>
            <a:gd name="adj2" fmla="val 1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-8576630"/>
              <a:satOff val="-45446"/>
              <a:lumOff val="2451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4607011-4B56-47A6-B333-A1C2EC9F9C6A}">
      <dsp:nvSpPr>
        <dsp:cNvPr id="0" name=""/>
        <dsp:cNvSpPr/>
      </dsp:nvSpPr>
      <dsp:spPr>
        <a:xfrm>
          <a:off x="7043256" y="2293087"/>
          <a:ext cx="1853031" cy="529174"/>
        </a:xfrm>
        <a:prstGeom prst="chevron">
          <a:avLst>
            <a:gd name="adj" fmla="val 25000"/>
          </a:avLst>
        </a:prstGeom>
        <a:gradFill rotWithShape="0">
          <a:gsLst>
            <a:gs pos="0">
              <a:schemeClr val="accent3">
                <a:hueOff val="-8576630"/>
                <a:satOff val="-45446"/>
                <a:lumOff val="24511"/>
                <a:alphaOff val="0"/>
                <a:tint val="50000"/>
                <a:satMod val="300000"/>
              </a:schemeClr>
            </a:gs>
            <a:gs pos="35000">
              <a:schemeClr val="accent3">
                <a:hueOff val="-8576630"/>
                <a:satOff val="-45446"/>
                <a:lumOff val="24511"/>
                <a:alphaOff val="0"/>
                <a:tint val="37000"/>
                <a:satMod val="300000"/>
              </a:schemeClr>
            </a:gs>
            <a:gs pos="100000">
              <a:schemeClr val="accent3">
                <a:hueOff val="-8576630"/>
                <a:satOff val="-45446"/>
                <a:lumOff val="24511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-8576630"/>
              <a:satOff val="-45446"/>
              <a:lumOff val="24511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0" tIns="203200" rIns="101600" bIns="2032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noProof="0" dirty="0">
              <a:latin typeface="Calibri"/>
            </a:rPr>
            <a:t>Reuse</a:t>
          </a:r>
        </a:p>
      </dsp:txBody>
      <dsp:txXfrm>
        <a:off x="7175550" y="2293087"/>
        <a:ext cx="1588444" cy="529174"/>
      </dsp:txXfrm>
    </dsp:sp>
    <dsp:sp modelId="{F8607698-FD52-4D31-9D4E-E8DCBF6CF443}">
      <dsp:nvSpPr>
        <dsp:cNvPr id="0" name=""/>
        <dsp:cNvSpPr/>
      </dsp:nvSpPr>
      <dsp:spPr>
        <a:xfrm>
          <a:off x="7191498" y="794510"/>
          <a:ext cx="1504661" cy="1071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noProof="0" dirty="0">
              <a:latin typeface="Calibri"/>
            </a:rPr>
            <a:t>Artifacts for reusability</a:t>
          </a:r>
        </a:p>
      </dsp:txBody>
      <dsp:txXfrm>
        <a:off x="7191498" y="794510"/>
        <a:ext cx="1504661" cy="10714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5EE1F6-82ED-4CE4-AAC2-A83A63670EB8}">
      <dsp:nvSpPr>
        <dsp:cNvPr id="0" name=""/>
        <dsp:cNvSpPr/>
      </dsp:nvSpPr>
      <dsp:spPr>
        <a:xfrm>
          <a:off x="2373375" y="689842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9E1130-A620-4EDD-9A31-D78E2AFF26A3}">
      <dsp:nvSpPr>
        <dsp:cNvPr id="0" name=""/>
        <dsp:cNvSpPr/>
      </dsp:nvSpPr>
      <dsp:spPr>
        <a:xfrm>
          <a:off x="969375" y="2202677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 noProof="0" dirty="0"/>
            <a:t>Methodology</a:t>
          </a:r>
        </a:p>
      </dsp:txBody>
      <dsp:txXfrm>
        <a:off x="969375" y="2202677"/>
        <a:ext cx="4320000" cy="648000"/>
      </dsp:txXfrm>
    </dsp:sp>
    <dsp:sp modelId="{E044F046-EFB0-4EFB-BF97-C41940FD3BAA}">
      <dsp:nvSpPr>
        <dsp:cNvPr id="0" name=""/>
        <dsp:cNvSpPr/>
      </dsp:nvSpPr>
      <dsp:spPr>
        <a:xfrm>
          <a:off x="969375" y="2932826"/>
          <a:ext cx="4320000" cy="16886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 dirty="0"/>
            <a:t>Socio - technical </a:t>
          </a: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 dirty="0"/>
            <a:t>European - national</a:t>
          </a: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 dirty="0"/>
            <a:t>Agile – </a:t>
          </a:r>
          <a:r>
            <a:rPr lang="en-GB" sz="1700" kern="1200" noProof="0" dirty="0">
              <a:latin typeface="Calibri"/>
            </a:rPr>
            <a:t>Structured</a:t>
          </a:r>
          <a:endParaRPr lang="en-GB" sz="1700" kern="1200" noProof="0" dirty="0"/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 dirty="0"/>
            <a:t>Collaboration </a:t>
          </a:r>
          <a:r>
            <a:rPr lang="en-GB" sz="1700" kern="1200" noProof="0" dirty="0">
              <a:latin typeface="Calibri"/>
            </a:rPr>
            <a:t>– </a:t>
          </a:r>
          <a:r>
            <a:rPr lang="en-GB" sz="1700" kern="1200" noProof="0" dirty="0"/>
            <a:t>Traceability</a:t>
          </a:r>
          <a:endParaRPr lang="en-GB" sz="1700" kern="1200" noProof="0" dirty="0">
            <a:latin typeface="Calibri"/>
          </a:endParaRP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 dirty="0">
              <a:latin typeface="Calibri"/>
            </a:rPr>
            <a:t>Elicitation - Creation</a:t>
          </a:r>
          <a:endParaRPr lang="en-GB" sz="1700" kern="1200" noProof="0" dirty="0"/>
        </a:p>
      </dsp:txBody>
      <dsp:txXfrm>
        <a:off x="969375" y="2932826"/>
        <a:ext cx="4320000" cy="1688677"/>
      </dsp:txXfrm>
    </dsp:sp>
    <dsp:sp modelId="{FFEF2697-D71D-4F43-8D1F-0968E613DBB8}">
      <dsp:nvSpPr>
        <dsp:cNvPr id="0" name=""/>
        <dsp:cNvSpPr/>
      </dsp:nvSpPr>
      <dsp:spPr>
        <a:xfrm>
          <a:off x="7449375" y="689842"/>
          <a:ext cx="1512000" cy="1512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2B18EC-7CCA-497A-8291-8ADF6784757D}">
      <dsp:nvSpPr>
        <dsp:cNvPr id="0" name=""/>
        <dsp:cNvSpPr/>
      </dsp:nvSpPr>
      <dsp:spPr>
        <a:xfrm>
          <a:off x="6045375" y="2202677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 noProof="0" dirty="0">
              <a:latin typeface="Calibri"/>
            </a:rPr>
            <a:t>Outcomes</a:t>
          </a:r>
          <a:endParaRPr lang="en-GB" sz="3600" kern="1200" noProof="0" dirty="0"/>
        </a:p>
      </dsp:txBody>
      <dsp:txXfrm>
        <a:off x="6045375" y="2202677"/>
        <a:ext cx="4320000" cy="648000"/>
      </dsp:txXfrm>
    </dsp:sp>
    <dsp:sp modelId="{C72A4A45-ED46-45C9-B744-AFEB0BF3D020}">
      <dsp:nvSpPr>
        <dsp:cNvPr id="0" name=""/>
        <dsp:cNvSpPr/>
      </dsp:nvSpPr>
      <dsp:spPr>
        <a:xfrm>
          <a:off x="6045375" y="2932826"/>
          <a:ext cx="4320000" cy="16886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 dirty="0"/>
            <a:t>Accuracy </a:t>
          </a: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 dirty="0">
              <a:latin typeface="+mn-lt"/>
            </a:rPr>
            <a:t>Contextualisation</a:t>
          </a:r>
          <a:endParaRPr lang="en-GB" sz="1700" kern="1200" noProof="0" dirty="0"/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 dirty="0"/>
            <a:t>Multilingualism</a:t>
          </a: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 dirty="0"/>
            <a:t>Versioning </a:t>
          </a: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 dirty="0">
              <a:latin typeface="Calibri"/>
            </a:rPr>
            <a:t>Findability</a:t>
          </a:r>
        </a:p>
      </dsp:txBody>
      <dsp:txXfrm>
        <a:off x="6045375" y="2932826"/>
        <a:ext cx="4320000" cy="168867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551EE9-AA2F-4F31-867D-D534E70844C7}">
      <dsp:nvSpPr>
        <dsp:cNvPr id="0" name=""/>
        <dsp:cNvSpPr/>
      </dsp:nvSpPr>
      <dsp:spPr>
        <a:xfrm>
          <a:off x="1274156" y="457"/>
          <a:ext cx="2352107" cy="1493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765D81D-ED3F-420A-A744-00DF5D468222}">
      <dsp:nvSpPr>
        <dsp:cNvPr id="0" name=""/>
        <dsp:cNvSpPr/>
      </dsp:nvSpPr>
      <dsp:spPr>
        <a:xfrm>
          <a:off x="1535501" y="248735"/>
          <a:ext cx="2352107" cy="1493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noProof="0" dirty="0"/>
            <a:t>Multilingualism for labels and descriptions</a:t>
          </a:r>
        </a:p>
      </dsp:txBody>
      <dsp:txXfrm>
        <a:off x="1579247" y="292481"/>
        <a:ext cx="2264615" cy="1406096"/>
      </dsp:txXfrm>
    </dsp:sp>
    <dsp:sp modelId="{823F4AE1-4D8D-4D69-8008-170F4EC593E0}">
      <dsp:nvSpPr>
        <dsp:cNvPr id="0" name=""/>
        <dsp:cNvSpPr/>
      </dsp:nvSpPr>
      <dsp:spPr>
        <a:xfrm>
          <a:off x="4148955" y="457"/>
          <a:ext cx="2352107" cy="1493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0D8B8D9-1408-4C3F-A02C-24487EB96F72}">
      <dsp:nvSpPr>
        <dsp:cNvPr id="0" name=""/>
        <dsp:cNvSpPr/>
      </dsp:nvSpPr>
      <dsp:spPr>
        <a:xfrm>
          <a:off x="4410300" y="248735"/>
          <a:ext cx="2352107" cy="1493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noProof="0" dirty="0"/>
            <a:t>Rich metadata for assets and their elements</a:t>
          </a:r>
        </a:p>
      </dsp:txBody>
      <dsp:txXfrm>
        <a:off x="4454046" y="292481"/>
        <a:ext cx="2264615" cy="14060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AccentHomeChevronProcess">
  <dgm:title val="Accent Home Chevron Process"/>
  <dgm:desc val="Use to show a progression; a timeline; sequential steps in a task, process, or workflow; or to emphasize movement or direction. Level 1 text appears inside an chevron shape, except the first shape which comes in a home shape, while Level 2 text appears above the invisible rectangle shapes."/>
  <dgm:catLst>
    <dgm:cat type="process" pri="500"/>
    <dgm:cat type="timeline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contrsBasedOnsibTransCount">
      <dgm:if name="oneSibTrans" axis="ch" ptType="sibTrans" func="cnt" op="equ" val="1">
        <dgm:constrLst>
          <dgm:constr type="h" for="ch" forName="composite" refType="h" fact="0.6"/>
          <dgm:constr type="w" for="ch" forName="composite" refType="w"/>
          <dgm:constr type="primFontSz" for="des" forName="parTx" val="20"/>
          <dgm:constr type="primFontSz" for="des" forName="desTx" refType="primFontSz" refFor="des" refForName="parTx" op="lte"/>
          <dgm:constr type="primFontSz" for="des" forName="parTx" op="equ"/>
          <dgm:constr type="primFontSz" for="des" forName="desTx" op="equ"/>
          <dgm:constr type="w" for="ch" forName="space" refType="w" refFor="ch" refForName="composite" fact="-0.02"/>
          <dgm:constr type="w" for="ch" ptType="sibTrans" op="equ"/>
        </dgm:constrLst>
      </dgm:if>
      <dgm:else name="moreThanOneSibTrans">
        <dgm:choose name="contrsForMoreThanOneSibTrans">
          <dgm:if name="twoSibTrans" axis="ch" ptType="sibTrans" func="cnt" op="equ" val="2">
            <dgm:constrLst>
              <dgm:constr type="h" for="ch" forName="composite" refType="h" fact="0.6"/>
              <dgm:constr type="w" for="ch" forName="composite" refType="w"/>
              <dgm:constr type="primFontSz" for="des" forName="parTx" val="20"/>
              <dgm:constr type="primFontSz" for="des" forName="desTx" refType="primFontSz" refFor="des" refForName="parTx" op="lte"/>
              <dgm:constr type="primFontSz" for="des" forName="parTx" op="equ"/>
              <dgm:constr type="primFontSz" for="des" forName="desTx" op="equ"/>
              <dgm:constr type="w" for="ch" forName="space" refType="w" refFor="ch" refForName="composite" fact="-0.03"/>
              <dgm:constr type="w" for="ch" ptType="sibTrans" op="equ"/>
            </dgm:constrLst>
          </dgm:if>
          <dgm:else name="moreThanTwoSibTrans">
            <dgm:choose name="contrsForMoreThanTwoSibTrans">
              <dgm:if name="threeSibTrans" axis="ch" ptType="sibTrans" func="cnt" op="equ" val="3">
                <dgm:constrLst>
                  <dgm:constr type="h" for="ch" forName="composite" refType="h" fact="0.6"/>
                  <dgm:constr type="w" for="ch" forName="composite" refType="w"/>
                  <dgm:constr type="primFontSz" for="des" forName="parTx" val="20"/>
                  <dgm:constr type="primFontSz" for="des" forName="desTx" refType="primFontSz" refFor="des" refForName="parTx" op="lte"/>
                  <dgm:constr type="primFontSz" for="des" forName="parTx" op="equ"/>
                  <dgm:constr type="primFontSz" for="des" forName="desTx" op="equ"/>
                  <dgm:constr type="w" for="ch" forName="space" refType="w" refFor="ch" refForName="composite" fact="-0.04"/>
                  <dgm:constr type="w" for="ch" ptType="sibTrans" op="equ"/>
                </dgm:constrLst>
              </dgm:if>
              <dgm:else name="moreThanThreeSibTrans">
                <dgm:choose name="contrsForMoreThanThreeSibTrans">
                  <dgm:if name="fourToSixSibTrans" axis="ch" ptType="sibTrans" func="cnt" op="lte" val="6">
                    <dgm:constrLst>
                      <dgm:constr type="h" for="ch" forName="composite" refType="h" fact="0.6"/>
                      <dgm:constr type="w" for="ch" forName="composite" refType="w"/>
                      <dgm:constr type="primFontSz" for="des" forName="parTx" val="20"/>
                      <dgm:constr type="primFontSz" for="des" forName="desTx" refType="primFontSz" refFor="des" refForName="parTx" op="lte"/>
                      <dgm:constr type="primFontSz" for="des" forName="parTx" op="equ"/>
                      <dgm:constr type="primFontSz" for="des" forName="desTx" op="equ"/>
                      <dgm:constr type="w" for="ch" forName="space" refType="w" refFor="ch" refForName="composite" fact="-0.05"/>
                      <dgm:constr type="w" for="ch" ptType="sibTrans" op="equ"/>
                    </dgm:constrLst>
                  </dgm:if>
                  <dgm:else name="moreThanSixSibTrans">
                    <dgm:choose name="contrsForMoreThanSixSibTrans">
                      <dgm:if name="sevenToEightSibTrans" axis="ch" ptType="sibTrans" func="cnt" op="lte" val="8">
                        <dgm:constrLst>
                          <dgm:constr type="h" for="ch" forName="composite" refType="h" fact="0.6"/>
                          <dgm:constr type="w" for="ch" forName="composite" refType="w"/>
                          <dgm:constr type="primFontSz" for="des" forName="parTx" val="20"/>
                          <dgm:constr type="primFontSz" for="des" forName="desTx" refType="primFontSz" refFor="des" refForName="parTx" op="lte"/>
                          <dgm:constr type="primFontSz" for="des" forName="parTx" op="equ"/>
                          <dgm:constr type="primFontSz" for="des" forName="desTx" op="equ"/>
                          <dgm:constr type="w" for="ch" forName="space" refType="w" refFor="ch" refForName="composite" fact="-0.07"/>
                          <dgm:constr type="w" for="ch" ptType="sibTrans" op="equ"/>
                        </dgm:constrLst>
                      </dgm:if>
                      <dgm:else name="moreThanEightSibTrans">
                        <dgm:constrLst>
                          <dgm:constr type="h" for="ch" forName="composite" refType="h" fact="0.6"/>
                          <dgm:constr type="w" for="ch" forName="composite" refType="w"/>
                          <dgm:constr type="primFontSz" for="des" forName="parTx" val="20"/>
                          <dgm:constr type="primFontSz" for="des" forName="desTx" refType="primFontSz" refFor="des" refForName="parTx" op="lte"/>
                          <dgm:constr type="primFontSz" for="des" forName="parTx" op="equ"/>
                          <dgm:constr type="primFontSz" for="des" forName="desTx" op="equ"/>
                          <dgm:constr type="w" for="ch" forName="space" refType="w" refFor="ch" refForName="composite" fact="-0.09"/>
                          <dgm:constr type="w" for="ch" ptType="sibTrans" op="equ"/>
                        </dgm:constrLst>
                      </dgm:else>
                    </dgm:choose>
                  </dgm:else>
                </dgm:choose>
              </dgm:else>
            </dgm:choose>
          </dgm:else>
        </dgm:choose>
      </dgm:else>
    </dgm:choose>
    <dgm:ruleLst/>
    <dgm:forEach name="Name6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LayoutLTRorRTL">
          <dgm:if name="LayoutLTR" func="var" arg="dir" op="equ" val="norm">
            <dgm:constrLst>
              <dgm:constr type="w" for="ch" forName="L" refType="w" fact="0.08"/>
              <dgm:constr type="h" for="ch" forName="L" refType="h" fact="0.75"/>
              <dgm:constr type="l" for="ch" forName="L"/>
              <dgm:constr type="l" for="ch" forName="parTx"/>
              <dgm:constr type="w" for="ch" forName="parTx" refType="w"/>
              <dgm:constr type="h" for="ch" forName="parTx" refType="h" fact="0.25"/>
              <dgm:constr type="t" for="ch" forName="parTx" refType="b" refFor="ch" refForName="L"/>
              <dgm:constr type="t" for="ch" forName="desTx" refType="w" refFor="ch" refForName="L" fact="0.6"/>
              <dgm:constr type="b" for="ch" forName="desTx" refType="t" refFor="ch" refForName="EmptyPlaceHolder"/>
              <dgm:constr type="l" for="ch" forName="desTx" refType="r" refFor="ch" refForName="L"/>
              <dgm:constr type="w" for="ch" forName="desTx" refType="w" fact="0.812"/>
              <dgm:constr type="w" for="ch" forName="EmptyPlaceHolder" refType="w" fact="0.82"/>
              <dgm:constr type="l" for="ch" forName="EmptyPlaceHolder" refType="r" refFor="ch" refForName="L"/>
              <dgm:constr type="b" for="ch" forName="EmptyPlaceHolder" refType="b" refFor="ch" refForName="L"/>
              <dgm:constr type="h" for="ch" forName="EmptyPlaceHolder" refType="t" refFor="ch" refForName="desTx"/>
            </dgm:constrLst>
          </dgm:if>
          <dgm:else name="LayoutRTL">
            <dgm:constrLst>
              <dgm:constr type="w" for="ch" forName="L" refType="w" fact="0.08"/>
              <dgm:constr type="h" for="ch" forName="L" refType="h" fact="0.75"/>
              <dgm:constr type="r" for="ch" forName="L" refType="w"/>
              <dgm:constr type="r" for="ch" forName="parTx" refType="w"/>
              <dgm:constr type="w" for="ch" forName="parTx" refType="w"/>
              <dgm:constr type="h" for="ch" forName="parTx" refType="h" fact="0.25"/>
              <dgm:constr type="t" for="ch" forName="parTx" refType="b" refFor="ch" refForName="L"/>
              <dgm:constr type="t" for="ch" forName="desTx" refType="w" refFor="ch" refForName="L" fact="0.6"/>
              <dgm:constr type="b" for="ch" forName="desTx" refType="t" refFor="ch" refForName="EmptyPlaceHolder"/>
              <dgm:constr type="r" for="ch" forName="desTx" refType="l" refFor="ch" refForName="L"/>
              <dgm:constr type="w" for="ch" forName="desTx" refType="w" fact="0.812"/>
              <dgm:constr type="w" for="ch" forName="EmptyPlaceHolder" refType="w" fact="0.82"/>
              <dgm:constr type="h" for="ch" forName="EmptyPlaceHolder" refType="w" refFor="ch" refForName="L" fact="0.6"/>
              <dgm:constr type="b" for="ch" forName="EmptyPlaceHolder" refType="b" refFor="ch" refForName="L"/>
            </dgm:constrLst>
          </dgm:else>
        </dgm:choose>
        <dgm:layoutNode name="L" styleLbl="solidFgAcc1" moveWith="parTx">
          <dgm:varLst>
            <dgm:chMax val="0"/>
            <dgm:chPref val="0"/>
          </dgm:varLst>
          <dgm:alg type="sp"/>
          <dgm:choose name="Name310">
            <dgm:if name="Name311" func="var" arg="dir" op="equ" val="norm">
              <dgm:shape xmlns:r="http://schemas.openxmlformats.org/officeDocument/2006/relationships" rot="90" type="corner" r:blip="">
                <dgm:adjLst>
                  <dgm:adj idx="1" val="0.01"/>
                  <dgm:adj idx="2" val="0.01"/>
                </dgm:adjLst>
              </dgm:shape>
            </dgm:if>
            <dgm:else name="Name312">
              <dgm:shape xmlns:r="http://schemas.openxmlformats.org/officeDocument/2006/relationships" rot="180" type="corner" r:blip="">
                <dgm:adjLst>
                  <dgm:adj idx="1" val="0.01"/>
                  <dgm:adj idx="2" val="0.01"/>
                </dgm:adjLst>
              </dgm:shape>
            </dgm:else>
          </dgm:choose>
          <dgm:presOf/>
          <dgm:constrLst/>
          <dgm:ruleLst/>
        </dgm:layoutNode>
        <dgm:layoutNode name="parTx" styleLbl="alignNode1">
          <dgm:varLst>
            <dgm:chMax val="0"/>
            <dgm:chPref val="0"/>
            <dgm:bulletEnabled val="1"/>
          </dgm:varLst>
          <dgm:alg type="tx">
            <dgm:param type="txAnchorVert" val="mid"/>
            <dgm:param type="parTxLTRAlign" val="ctr"/>
            <dgm:param type="parTxRTLAlign" val="ctr"/>
          </dgm:alg>
          <dgm:choose name="MakeFirstNodeHomePlate">
            <dgm:if name="IfFirstNode" axis="self" ptType="node" func="pos" op="equ" val="1">
              <dgm:choose name="Name110">
                <dgm:if name="Name111" func="var" arg="dir" op="equ" val="norm">
                  <dgm:shape xmlns:r="http://schemas.openxmlformats.org/officeDocument/2006/relationships" type="homePlate" r:blip="">
                    <dgm:adjLst>
                      <dgm:adj idx="1" val="0.25"/>
                    </dgm:adjLst>
                  </dgm:shape>
                </dgm:if>
                <dgm:else name="Name112">
                  <dgm:shape xmlns:r="http://schemas.openxmlformats.org/officeDocument/2006/relationships" rot="180" type="homePlate" r:blip="">
                    <dgm:adjLst>
                      <dgm:adj idx="1" val="0.25"/>
                    </dgm:adjLst>
                  </dgm:shape>
                </dgm:else>
              </dgm:choose>
            </dgm:if>
            <dgm:else name="MakeRestOfNodesChevrons"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>
                      <dgm:adj idx="1" val="0.25"/>
                    </dgm:adjLst>
                  </dgm:shape>
                </dgm:if>
                <dgm:else name="Name12">
                  <dgm:shape xmlns:r="http://schemas.openxmlformats.org/officeDocument/2006/relationships" rot="180" type="chevron" r:blip="">
                    <dgm:adjLst>
                      <dgm:adj idx="1" val="0.25"/>
                    </dgm:adjLst>
                  </dgm:shape>
                </dgm:else>
              </dgm:choose>
            </dgm:else>
          </dgm:choose>
          <dgm:presOf axis="self" ptType="node"/>
          <dgm:constrLst>
            <dgm:constr type="tMarg" refType="primFontSz"/>
            <dgm:constr type="bMarg" refType="primFontSz"/>
            <dgm:constr type="lMarg" refType="primFontSz" fact="0.5"/>
            <dgm:constr type="rMarg" refType="primFontSz" fact="0.5"/>
          </dgm:constrLst>
          <dgm:ruleLst>
            <dgm:rule type="primFontSz" val="13" fact="NaN" max="NaN"/>
          </dgm:ruleLst>
        </dgm:layoutNode>
        <dgm:layoutNode name="desTx" styleLbl="revTx" moveWith="parTx">
          <dgm:varLst>
            <dgm:chMax val="0"/>
            <dgm:chPref val="0"/>
            <dgm:bulletEnabled val="1"/>
          </dgm:varLst>
          <dgm:choose name="Name210">
            <dgm:if name="Name211" func="var" arg="dir" op="equ" val="norm">
              <dgm:alg type="tx">
                <dgm:param type="txAnchorVert" val="t"/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12">
              <dgm:alg type="tx">
                <dgm:param type="txAnchorVert" val="t"/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tMarg"/>
            <dgm:constr type="bMarg"/>
            <dgm:constr type="lMarg"/>
            <dgm:constr type="rMarg"/>
          </dgm:constrLst>
          <dgm:ruleLst>
            <dgm:rule type="primFontSz" val="11" fact="NaN" max="NaN"/>
            <dgm:rule type="secFontSz" val="9" fact="NaN" max="NaN"/>
          </dgm:ruleLst>
        </dgm:layoutNode>
        <dgm:layoutNode name="EmptyPlaceHolder">
          <dgm:alg type="sp"/>
          <dgm:shape xmlns:r="http://schemas.openxmlformats.org/officeDocument/2006/relationships" r:blip="">
            <dgm:adjLst/>
          </dgm:shape>
          <dgm:presOf/>
          <dgm:constrLst/>
        </dgm:layoutNode>
      </dgm:layoutNode>
      <dgm:forEach name="Name19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4184933D-F976-42A7-BEC9-73975B622517}" type="datetimeFigureOut">
              <a:rPr lang="es-ES"/>
              <a:pPr>
                <a:defRPr/>
              </a:pPr>
              <a:t>10/10/2023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96F0B65-D26B-46AB-8B8D-80F4742B6B5C}" type="slidenum">
              <a:rPr lang="es-ES" altLang="es-ES"/>
              <a:pPr/>
              <a:t>‹Nº›</a:t>
            </a:fld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14658603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9B0C5B3-40D7-45FC-A49C-7BB124C9106A}" type="datetimeFigureOut">
              <a:rPr lang="es-ES"/>
              <a:pPr>
                <a:defRPr/>
              </a:pPr>
              <a:t>10/10/2023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ES" noProof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2242970B-4389-46C9-B87A-00F396319CDD}" type="slidenum">
              <a:rPr lang="es-ES" altLang="es-ES"/>
              <a:pPr/>
              <a:t>‹Nº›</a:t>
            </a:fld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40753136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42970B-4389-46C9-B87A-00F396319CDD}" type="slidenum">
              <a:rPr lang="es-ES" altLang="es-ES" smtClean="0"/>
              <a:pPr/>
              <a:t>1</a:t>
            </a:fld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2456317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42970B-4389-46C9-B87A-00F396319CDD}" type="slidenum">
              <a:rPr lang="es-ES" altLang="es-ES" smtClean="0"/>
              <a:pPr/>
              <a:t>4</a:t>
            </a:fld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3338120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42970B-4389-46C9-B87A-00F396319CDD}" type="slidenum">
              <a:rPr lang="es-ES" altLang="es-ES" smtClean="0"/>
              <a:pPr/>
              <a:t>5</a:t>
            </a:fld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38806875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2051050" y="558800"/>
            <a:ext cx="4960938" cy="2790825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3BFDA1-F479-4632-A404-8C641803337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164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png"/><Relationship Id="rId7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png"/><Relationship Id="rId7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18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D51A4710-E26E-41AE-9BFF-1E5241DA4F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-16042"/>
            <a:ext cx="12191999" cy="6874042"/>
          </a:xfrm>
          <a:prstGeom prst="rect">
            <a:avLst/>
          </a:prstGeom>
        </p:spPr>
      </p:pic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F4E7DB3-F973-4261-8821-285FFC0CED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7303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F4E7DB3-F973-4261-8821-285FFC0CED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14">
            <a:extLst>
              <a:ext uri="{FF2B5EF4-FFF2-40B4-BE49-F238E27FC236}">
                <a16:creationId xmlns:a16="http://schemas.microsoft.com/office/drawing/2014/main" id="{952C6C67-06A5-49C6-B3F8-2987CB6F4C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611" y="3356993"/>
            <a:ext cx="5862897" cy="5767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/>
              <a:t>Subtitulo de la presentación</a:t>
            </a:r>
          </a:p>
        </p:txBody>
      </p:sp>
      <p:sp>
        <p:nvSpPr>
          <p:cNvPr id="8" name="Marcador de texto 16">
            <a:extLst>
              <a:ext uri="{FF2B5EF4-FFF2-40B4-BE49-F238E27FC236}">
                <a16:creationId xmlns:a16="http://schemas.microsoft.com/office/drawing/2014/main" id="{C7069348-180C-424C-9564-E1AD801DA0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610" y="4072914"/>
            <a:ext cx="5862730" cy="4327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s-ES"/>
              <a:t>Fecha</a:t>
            </a:r>
          </a:p>
        </p:txBody>
      </p:sp>
      <p:sp>
        <p:nvSpPr>
          <p:cNvPr id="9" name="Marcador de texto 18">
            <a:extLst>
              <a:ext uri="{FF2B5EF4-FFF2-40B4-BE49-F238E27FC236}">
                <a16:creationId xmlns:a16="http://schemas.microsoft.com/office/drawing/2014/main" id="{27BD14FD-E0BB-45D7-9B81-6FD2C4EE21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611" y="1196753"/>
            <a:ext cx="6292391" cy="20210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s-ES"/>
              <a:t>Titulo de la presentación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E2E82385-A3D2-4642-B6EE-2C5A2FD4C5F9}"/>
              </a:ext>
            </a:extLst>
          </p:cNvPr>
          <p:cNvCxnSpPr>
            <a:cxnSpLocks/>
          </p:cNvCxnSpPr>
          <p:nvPr/>
        </p:nvCxnSpPr>
        <p:spPr>
          <a:xfrm>
            <a:off x="512611" y="3364945"/>
            <a:ext cx="6306023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o 2">
            <a:extLst>
              <a:ext uri="{FF2B5EF4-FFF2-40B4-BE49-F238E27FC236}">
                <a16:creationId xmlns:a16="http://schemas.microsoft.com/office/drawing/2014/main" id="{62A01EDA-3AF7-6292-1FAF-8FB530935FB2}"/>
              </a:ext>
            </a:extLst>
          </p:cNvPr>
          <p:cNvGrpSpPr/>
          <p:nvPr userDrawn="1"/>
        </p:nvGrpSpPr>
        <p:grpSpPr>
          <a:xfrm>
            <a:off x="3360324" y="6190504"/>
            <a:ext cx="7540714" cy="450164"/>
            <a:chOff x="210724" y="6190504"/>
            <a:chExt cx="7540714" cy="450164"/>
          </a:xfrm>
        </p:grpSpPr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4452F7E1-9BCF-5399-4BDF-B029DC9C284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210724" y="6190504"/>
              <a:ext cx="2881702" cy="441770"/>
            </a:xfrm>
            <a:prstGeom prst="rect">
              <a:avLst/>
            </a:prstGeom>
          </p:spPr>
        </p:pic>
        <p:pic>
          <p:nvPicPr>
            <p:cNvPr id="6" name="Picture 14" descr="PERTE, MRR, React-EU... Guía para no perderse con los fondos europeos">
              <a:extLst>
                <a:ext uri="{FF2B5EF4-FFF2-40B4-BE49-F238E27FC236}">
                  <a16:creationId xmlns:a16="http://schemas.microsoft.com/office/drawing/2014/main" id="{25039A78-9CBE-128A-16B9-0D6615FAED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19" t="15876" r="8657" b="10625"/>
            <a:stretch/>
          </p:blipFill>
          <p:spPr bwMode="auto">
            <a:xfrm>
              <a:off x="3148085" y="6198898"/>
              <a:ext cx="1012743" cy="4417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Imagen 9" descr="Forma&#10;&#10;Descripción generada automáticamente con confianza media">
              <a:extLst>
                <a:ext uri="{FF2B5EF4-FFF2-40B4-BE49-F238E27FC236}">
                  <a16:creationId xmlns:a16="http://schemas.microsoft.com/office/drawing/2014/main" id="{E0399B76-739B-E1B6-B90C-E2E1F27901D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726442" y="6190504"/>
              <a:ext cx="3024996" cy="442406"/>
            </a:xfrm>
            <a:prstGeom prst="rect">
              <a:avLst/>
            </a:prstGeom>
            <a:solidFill>
              <a:schemeClr val="bg1"/>
            </a:solidFill>
          </p:spPr>
        </p:pic>
        <p:grpSp>
          <p:nvGrpSpPr>
            <p:cNvPr id="11" name="Group 15">
              <a:extLst>
                <a:ext uri="{FF2B5EF4-FFF2-40B4-BE49-F238E27FC236}">
                  <a16:creationId xmlns:a16="http://schemas.microsoft.com/office/drawing/2014/main" id="{4BC37E60-BB0C-AD97-004F-7B3AF7BBA6C3}"/>
                </a:ext>
              </a:extLst>
            </p:cNvPr>
            <p:cNvGrpSpPr/>
            <p:nvPr userDrawn="1"/>
          </p:nvGrpSpPr>
          <p:grpSpPr>
            <a:xfrm>
              <a:off x="4304471" y="6190505"/>
              <a:ext cx="410403" cy="442800"/>
              <a:chOff x="3428999" y="3797096"/>
              <a:chExt cx="2509486" cy="2874062"/>
            </a:xfrm>
          </p:grpSpPr>
          <p:pic>
            <p:nvPicPr>
              <p:cNvPr id="12" name="Picture 16">
                <a:extLst>
                  <a:ext uri="{FF2B5EF4-FFF2-40B4-BE49-F238E27FC236}">
                    <a16:creationId xmlns:a16="http://schemas.microsoft.com/office/drawing/2014/main" id="{7F5BE4F7-62B0-5CC7-64F4-1ACD2A4933F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50000" t="20036" r="13408" b="16888"/>
              <a:stretch/>
            </p:blipFill>
            <p:spPr>
              <a:xfrm>
                <a:off x="3428999" y="3797096"/>
                <a:ext cx="2509485" cy="2433220"/>
              </a:xfrm>
              <a:prstGeom prst="rect">
                <a:avLst/>
              </a:prstGeom>
            </p:spPr>
          </p:pic>
          <p:pic>
            <p:nvPicPr>
              <p:cNvPr id="15" name="Picture 17">
                <a:extLst>
                  <a:ext uri="{FF2B5EF4-FFF2-40B4-BE49-F238E27FC236}">
                    <a16:creationId xmlns:a16="http://schemas.microsoft.com/office/drawing/2014/main" id="{A8703DD7-125D-B61B-E778-D852519D9F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50000" t="20841" r="42356" b="17172"/>
              <a:stretch/>
            </p:blipFill>
            <p:spPr>
              <a:xfrm rot="5400000">
                <a:off x="4408655" y="5141328"/>
                <a:ext cx="550174" cy="25094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07064960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AE75EC17-8237-479F-9CC8-3066D54E87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929994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AE75EC17-8237-479F-9CC8-3066D54E87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ítulo 9">
            <a:extLst>
              <a:ext uri="{FF2B5EF4-FFF2-40B4-BE49-F238E27FC236}">
                <a16:creationId xmlns:a16="http://schemas.microsoft.com/office/drawing/2014/main" id="{F6E09DB9-DEAC-4632-9BDD-979143AE4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0238" y="1659446"/>
            <a:ext cx="870978" cy="1646321"/>
          </a:xfrm>
          <a:prstGeom prst="rect">
            <a:avLst/>
          </a:prstGeom>
        </p:spPr>
        <p:txBody>
          <a:bodyPr/>
          <a:lstStyle>
            <a:lvl1pPr algn="l">
              <a:lnSpc>
                <a:spcPts val="2300"/>
              </a:lnSpc>
              <a:defRPr lang="es-ES" sz="2400" b="0" kern="1200" dirty="0">
                <a:solidFill>
                  <a:srgbClr val="37B9E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X</a:t>
            </a:r>
            <a:br>
              <a:rPr lang="es-ES"/>
            </a:br>
            <a:br>
              <a:rPr lang="es-ES"/>
            </a:br>
            <a:r>
              <a:rPr lang="es-ES"/>
              <a:t>X</a:t>
            </a:r>
            <a:br>
              <a:rPr lang="es-ES"/>
            </a:br>
            <a:br>
              <a:rPr lang="es-ES"/>
            </a:br>
            <a:r>
              <a:rPr lang="es-ES" err="1"/>
              <a:t>X</a:t>
            </a:r>
            <a:endParaRPr lang="es-ES"/>
          </a:p>
        </p:txBody>
      </p:sp>
      <p:cxnSp>
        <p:nvCxnSpPr>
          <p:cNvPr id="22" name="15 Conector recto">
            <a:extLst>
              <a:ext uri="{FF2B5EF4-FFF2-40B4-BE49-F238E27FC236}">
                <a16:creationId xmlns:a16="http://schemas.microsoft.com/office/drawing/2014/main" id="{E7F82E57-CD7F-42AD-9398-A30BE9F55EF4}"/>
              </a:ext>
            </a:extLst>
          </p:cNvPr>
          <p:cNvCxnSpPr>
            <a:cxnSpLocks/>
          </p:cNvCxnSpPr>
          <p:nvPr/>
        </p:nvCxnSpPr>
        <p:spPr>
          <a:xfrm>
            <a:off x="2020043" y="1616264"/>
            <a:ext cx="0" cy="1646321"/>
          </a:xfrm>
          <a:prstGeom prst="line">
            <a:avLst/>
          </a:prstGeom>
          <a:ln w="12700">
            <a:solidFill>
              <a:srgbClr val="EFD32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3 Conector recto">
            <a:extLst>
              <a:ext uri="{FF2B5EF4-FFF2-40B4-BE49-F238E27FC236}">
                <a16:creationId xmlns:a16="http://schemas.microsoft.com/office/drawing/2014/main" id="{399C34E0-B9F6-446B-9749-A4F92CEE32F2}"/>
              </a:ext>
            </a:extLst>
          </p:cNvPr>
          <p:cNvCxnSpPr>
            <a:cxnSpLocks/>
          </p:cNvCxnSpPr>
          <p:nvPr/>
        </p:nvCxnSpPr>
        <p:spPr>
          <a:xfrm flipH="1">
            <a:off x="1881765" y="1858482"/>
            <a:ext cx="224625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3 Conector recto">
            <a:extLst>
              <a:ext uri="{FF2B5EF4-FFF2-40B4-BE49-F238E27FC236}">
                <a16:creationId xmlns:a16="http://schemas.microsoft.com/office/drawing/2014/main" id="{67F93634-5E0A-4B05-84E0-5DB1BF09093B}"/>
              </a:ext>
            </a:extLst>
          </p:cNvPr>
          <p:cNvCxnSpPr>
            <a:cxnSpLocks/>
          </p:cNvCxnSpPr>
          <p:nvPr/>
        </p:nvCxnSpPr>
        <p:spPr>
          <a:xfrm flipH="1">
            <a:off x="1881765" y="2427717"/>
            <a:ext cx="224625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3 Conector recto">
            <a:extLst>
              <a:ext uri="{FF2B5EF4-FFF2-40B4-BE49-F238E27FC236}">
                <a16:creationId xmlns:a16="http://schemas.microsoft.com/office/drawing/2014/main" id="{BB7C82B2-0237-413D-9366-95BD013DDA34}"/>
              </a:ext>
            </a:extLst>
          </p:cNvPr>
          <p:cNvCxnSpPr>
            <a:cxnSpLocks/>
          </p:cNvCxnSpPr>
          <p:nvPr/>
        </p:nvCxnSpPr>
        <p:spPr>
          <a:xfrm flipH="1">
            <a:off x="1881765" y="2996952"/>
            <a:ext cx="224625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ítulo 13">
            <a:extLst>
              <a:ext uri="{FF2B5EF4-FFF2-40B4-BE49-F238E27FC236}">
                <a16:creationId xmlns:a16="http://schemas.microsoft.com/office/drawing/2014/main" id="{4722EB5E-2C8C-4FCD-8B9E-34081A24E42E}"/>
              </a:ext>
            </a:extLst>
          </p:cNvPr>
          <p:cNvSpPr txBox="1">
            <a:spLocks/>
          </p:cNvSpPr>
          <p:nvPr/>
        </p:nvSpPr>
        <p:spPr>
          <a:xfrm>
            <a:off x="123271" y="432505"/>
            <a:ext cx="4773952" cy="1140576"/>
          </a:xfrm>
          <a:prstGeom prst="rect">
            <a:avLst/>
          </a:prstGeom>
        </p:spPr>
        <p:txBody>
          <a:bodyPr/>
          <a:lstStyle>
            <a:lvl1pPr algn="ctr" defTabSz="356085" rtl="0" eaLnBrk="1" latinLnBrk="0" hangingPunct="1">
              <a:spcBef>
                <a:spcPct val="0"/>
              </a:spcBef>
              <a:buNone/>
              <a:defRPr sz="171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6000" b="1">
                <a:solidFill>
                  <a:srgbClr val="0544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ÍNDICE</a:t>
            </a:r>
          </a:p>
        </p:txBody>
      </p:sp>
      <p:sp>
        <p:nvSpPr>
          <p:cNvPr id="31" name="Título 9">
            <a:extLst>
              <a:ext uri="{FF2B5EF4-FFF2-40B4-BE49-F238E27FC236}">
                <a16:creationId xmlns:a16="http://schemas.microsoft.com/office/drawing/2014/main" id="{5AE21EBF-4F99-48AD-9611-BD55A69EE9B6}"/>
              </a:ext>
            </a:extLst>
          </p:cNvPr>
          <p:cNvSpPr txBox="1">
            <a:spLocks/>
          </p:cNvSpPr>
          <p:nvPr/>
        </p:nvSpPr>
        <p:spPr>
          <a:xfrm>
            <a:off x="2342330" y="1659446"/>
            <a:ext cx="5240133" cy="1646321"/>
          </a:xfrm>
          <a:prstGeom prst="rect">
            <a:avLst/>
          </a:prstGeom>
        </p:spPr>
        <p:txBody>
          <a:bodyPr/>
          <a:lstStyle>
            <a:lvl1pPr algn="l" defTabSz="356085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s-ES" sz="1800" b="1" kern="1200" dirty="0">
                <a:solidFill>
                  <a:srgbClr val="05446B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Añadir titulo </a:t>
            </a:r>
            <a:r>
              <a:rPr lang="es-ES" err="1"/>
              <a:t>slide</a:t>
            </a:r>
            <a:br>
              <a:rPr lang="es-ES"/>
            </a:br>
            <a:br>
              <a:rPr lang="es-ES"/>
            </a:br>
            <a:r>
              <a:rPr lang="es-ES"/>
              <a:t>Añadir titulo </a:t>
            </a:r>
            <a:r>
              <a:rPr lang="es-ES" err="1"/>
              <a:t>slide</a:t>
            </a:r>
            <a:br>
              <a:rPr lang="es-ES"/>
            </a:br>
            <a:br>
              <a:rPr lang="es-ES"/>
            </a:br>
            <a:r>
              <a:rPr lang="es-ES"/>
              <a:t>Añadir titulo </a:t>
            </a:r>
            <a:r>
              <a:rPr lang="es-ES" err="1"/>
              <a:t>slide</a:t>
            </a:r>
            <a:endParaRPr lang="es-ES"/>
          </a:p>
        </p:txBody>
      </p:sp>
      <p:pic>
        <p:nvPicPr>
          <p:cNvPr id="32" name="Imagen 31">
            <a:extLst>
              <a:ext uri="{FF2B5EF4-FFF2-40B4-BE49-F238E27FC236}">
                <a16:creationId xmlns:a16="http://schemas.microsoft.com/office/drawing/2014/main" id="{43F6DABC-8E90-4F90-926B-589F918161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5194" y="0"/>
            <a:ext cx="823771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55999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áfico 14">
            <a:extLst>
              <a:ext uri="{FF2B5EF4-FFF2-40B4-BE49-F238E27FC236}">
                <a16:creationId xmlns:a16="http://schemas.microsoft.com/office/drawing/2014/main" id="{2A6D3D07-A9ED-417C-A9C6-F2ED9E7E0F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8142" y="6373126"/>
            <a:ext cx="1063857" cy="260648"/>
          </a:xfrm>
          <a:prstGeom prst="rect">
            <a:avLst/>
          </a:prstGeom>
        </p:spPr>
      </p:pic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AE75EC17-8237-479F-9CC8-3066D54E87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76320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95" imgH="396" progId="TCLayout.ActiveDocument.1">
                  <p:embed/>
                </p:oleObj>
              </mc:Choice>
              <mc:Fallback>
                <p:oleObj name="Diapositiva de think-cell" r:id="rId5" imgW="395" imgH="39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AE75EC17-8237-479F-9CC8-3066D54E87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FB9BDE34-B198-481F-927F-E9E3FC589F7B}"/>
              </a:ext>
            </a:extLst>
          </p:cNvPr>
          <p:cNvCxnSpPr/>
          <p:nvPr/>
        </p:nvCxnSpPr>
        <p:spPr>
          <a:xfrm>
            <a:off x="0" y="789212"/>
            <a:ext cx="9641009" cy="0"/>
          </a:xfrm>
          <a:prstGeom prst="line">
            <a:avLst/>
          </a:prstGeom>
          <a:ln>
            <a:solidFill>
              <a:srgbClr val="EFD3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contenido 10">
            <a:extLst>
              <a:ext uri="{FF2B5EF4-FFF2-40B4-BE49-F238E27FC236}">
                <a16:creationId xmlns:a16="http://schemas.microsoft.com/office/drawing/2014/main" id="{FA84F215-7E51-4F86-B180-EAA002B220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762" y="1169894"/>
            <a:ext cx="11335253" cy="5136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/>
              <a:t>Añadir contenido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6BD5876-CDCE-43AD-93ED-9D310A8B4C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0"/>
            <a:ext cx="12192000" cy="707136"/>
          </a:xfrm>
          <a:prstGeom prst="rect">
            <a:avLst/>
          </a:prstGeom>
        </p:spPr>
      </p:pic>
      <p:sp>
        <p:nvSpPr>
          <p:cNvPr id="11" name="Título 9">
            <a:extLst>
              <a:ext uri="{FF2B5EF4-FFF2-40B4-BE49-F238E27FC236}">
                <a16:creationId xmlns:a16="http://schemas.microsoft.com/office/drawing/2014/main" id="{E66E1404-6826-4CBD-8A8D-16F79A1813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137" y="361728"/>
            <a:ext cx="10910919" cy="427484"/>
          </a:xfrm>
          <a:prstGeom prst="rect">
            <a:avLst/>
          </a:prstGeom>
        </p:spPr>
        <p:txBody>
          <a:bodyPr/>
          <a:lstStyle>
            <a:lvl1pPr algn="l">
              <a:defRPr lang="es-ES" sz="1800" b="1" kern="1200" dirty="0">
                <a:solidFill>
                  <a:srgbClr val="05446B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     AÑADIR TÍTULO DE LA DIAPOSITIVA</a:t>
            </a:r>
          </a:p>
        </p:txBody>
      </p:sp>
      <p:sp>
        <p:nvSpPr>
          <p:cNvPr id="13" name="1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95409" y="633033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3D41CAF-7772-4D25-BA8B-258115B403BB}" type="slidenum">
              <a:rPr lang="es-ES" altLang="es-ES" smtClean="0"/>
              <a:pPr/>
              <a:t>‹Nº›</a:t>
            </a:fld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41923910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417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6">
            <a:extLst>
              <a:ext uri="{FF2B5EF4-FFF2-40B4-BE49-F238E27FC236}">
                <a16:creationId xmlns:a16="http://schemas.microsoft.com/office/drawing/2014/main" id="{2B1F0E1B-B5F3-4D0C-AD7E-B41D73AA7F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1447"/>
          </a:xfrm>
          <a:prstGeom prst="rect">
            <a:avLst/>
          </a:prstGeom>
        </p:spPr>
      </p:pic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F4E7DB3-F973-4261-8821-285FFC0CED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756233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F4E7DB3-F973-4261-8821-285FFC0CED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CuadroTexto"/>
          <p:cNvSpPr txBox="1"/>
          <p:nvPr/>
        </p:nvSpPr>
        <p:spPr>
          <a:xfrm>
            <a:off x="470647" y="1304365"/>
            <a:ext cx="470647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400" b="1">
                <a:solidFill>
                  <a:schemeClr val="accent6"/>
                </a:solidFill>
              </a:rPr>
              <a:t>GRACIAS POR SU ATENCIÓN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470647" y="5325035"/>
            <a:ext cx="51233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>
                <a:solidFill>
                  <a:schemeClr val="accent6"/>
                </a:solidFill>
              </a:rPr>
              <a:t>gestion.plandigital@economia.gob.es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E5ACD43C-34BF-860B-88A6-7842996042DC}"/>
              </a:ext>
            </a:extLst>
          </p:cNvPr>
          <p:cNvGrpSpPr/>
          <p:nvPr userDrawn="1"/>
        </p:nvGrpSpPr>
        <p:grpSpPr>
          <a:xfrm>
            <a:off x="254266" y="6203104"/>
            <a:ext cx="7540714" cy="450164"/>
            <a:chOff x="210724" y="6190504"/>
            <a:chExt cx="7540714" cy="450164"/>
          </a:xfrm>
        </p:grpSpPr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0B059B8F-F9B1-7E63-F3D1-70BE2EA1CED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210724" y="6190504"/>
              <a:ext cx="2881702" cy="441770"/>
            </a:xfrm>
            <a:prstGeom prst="rect">
              <a:avLst/>
            </a:prstGeom>
          </p:spPr>
        </p:pic>
        <p:pic>
          <p:nvPicPr>
            <p:cNvPr id="7" name="Picture 14" descr="PERTE, MRR, React-EU... Guía para no perderse con los fondos europeos">
              <a:extLst>
                <a:ext uri="{FF2B5EF4-FFF2-40B4-BE49-F238E27FC236}">
                  <a16:creationId xmlns:a16="http://schemas.microsoft.com/office/drawing/2014/main" id="{50777126-2A52-29B1-E2E3-5E2E974478F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19" t="15876" r="8657" b="10625"/>
            <a:stretch/>
          </p:blipFill>
          <p:spPr bwMode="auto">
            <a:xfrm>
              <a:off x="3148085" y="6198898"/>
              <a:ext cx="1012743" cy="4417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Imagen 7" descr="Forma&#10;&#10;Descripción generada automáticamente con confianza media">
              <a:extLst>
                <a:ext uri="{FF2B5EF4-FFF2-40B4-BE49-F238E27FC236}">
                  <a16:creationId xmlns:a16="http://schemas.microsoft.com/office/drawing/2014/main" id="{34C33146-2607-8E74-41B6-4F440298AE7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726442" y="6190504"/>
              <a:ext cx="3024996" cy="442406"/>
            </a:xfrm>
            <a:prstGeom prst="rect">
              <a:avLst/>
            </a:prstGeom>
            <a:solidFill>
              <a:schemeClr val="bg1"/>
            </a:solidFill>
          </p:spPr>
        </p:pic>
        <p:grpSp>
          <p:nvGrpSpPr>
            <p:cNvPr id="9" name="Group 15">
              <a:extLst>
                <a:ext uri="{FF2B5EF4-FFF2-40B4-BE49-F238E27FC236}">
                  <a16:creationId xmlns:a16="http://schemas.microsoft.com/office/drawing/2014/main" id="{CA71EE73-363E-9661-0942-E1D2C34AF9D8}"/>
                </a:ext>
              </a:extLst>
            </p:cNvPr>
            <p:cNvGrpSpPr/>
            <p:nvPr userDrawn="1"/>
          </p:nvGrpSpPr>
          <p:grpSpPr>
            <a:xfrm>
              <a:off x="4304471" y="6190505"/>
              <a:ext cx="410403" cy="442800"/>
              <a:chOff x="3428999" y="3797096"/>
              <a:chExt cx="2509486" cy="2874062"/>
            </a:xfrm>
          </p:grpSpPr>
          <p:pic>
            <p:nvPicPr>
              <p:cNvPr id="10" name="Picture 16">
                <a:extLst>
                  <a:ext uri="{FF2B5EF4-FFF2-40B4-BE49-F238E27FC236}">
                    <a16:creationId xmlns:a16="http://schemas.microsoft.com/office/drawing/2014/main" id="{AA0D25E1-83BF-029D-18CD-3031C341E4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50000" t="20036" r="13408" b="16888"/>
              <a:stretch/>
            </p:blipFill>
            <p:spPr>
              <a:xfrm>
                <a:off x="3428999" y="3797096"/>
                <a:ext cx="2509485" cy="2433220"/>
              </a:xfrm>
              <a:prstGeom prst="rect">
                <a:avLst/>
              </a:prstGeom>
            </p:spPr>
          </p:pic>
          <p:pic>
            <p:nvPicPr>
              <p:cNvPr id="11" name="Picture 17">
                <a:extLst>
                  <a:ext uri="{FF2B5EF4-FFF2-40B4-BE49-F238E27FC236}">
                    <a16:creationId xmlns:a16="http://schemas.microsoft.com/office/drawing/2014/main" id="{24F8B4CD-C05F-1A5D-F868-6EE742FB4B2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50000" t="20841" r="42356" b="17172"/>
              <a:stretch/>
            </p:blipFill>
            <p:spPr>
              <a:xfrm rot="5400000">
                <a:off x="4408655" y="5141328"/>
                <a:ext cx="550174" cy="25094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65138830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present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D51A4710-E26E-41AE-9BFF-1E5241DA4F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6042"/>
            <a:ext cx="12191999" cy="6874042"/>
          </a:xfrm>
          <a:prstGeom prst="rect">
            <a:avLst/>
          </a:prstGeom>
        </p:spPr>
      </p:pic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F4E7DB3-F973-4261-8821-285FFC0CED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7303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F4E7DB3-F973-4261-8821-285FFC0CED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14">
            <a:extLst>
              <a:ext uri="{FF2B5EF4-FFF2-40B4-BE49-F238E27FC236}">
                <a16:creationId xmlns:a16="http://schemas.microsoft.com/office/drawing/2014/main" id="{952C6C67-06A5-49C6-B3F8-2987CB6F4C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611" y="3356993"/>
            <a:ext cx="5862897" cy="5767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Bariol Regular" panose="02000506040000020003" pitchFamily="2" charset="0"/>
              </a:defRPr>
            </a:lvl1pPr>
          </a:lstStyle>
          <a:p>
            <a:r>
              <a:rPr lang="es-ES"/>
              <a:t>Subtitulo de la presentación</a:t>
            </a:r>
          </a:p>
        </p:txBody>
      </p:sp>
      <p:sp>
        <p:nvSpPr>
          <p:cNvPr id="8" name="Marcador de texto 16">
            <a:extLst>
              <a:ext uri="{FF2B5EF4-FFF2-40B4-BE49-F238E27FC236}">
                <a16:creationId xmlns:a16="http://schemas.microsoft.com/office/drawing/2014/main" id="{C7069348-180C-424C-9564-E1AD801DA0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610" y="4072914"/>
            <a:ext cx="5862730" cy="4327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Bariol Regular" panose="02000506040000020003" pitchFamily="2" charset="0"/>
              </a:defRPr>
            </a:lvl1pPr>
          </a:lstStyle>
          <a:p>
            <a:r>
              <a:rPr lang="es-ES"/>
              <a:t>Fecha</a:t>
            </a:r>
          </a:p>
        </p:txBody>
      </p:sp>
      <p:sp>
        <p:nvSpPr>
          <p:cNvPr id="9" name="Marcador de texto 18">
            <a:extLst>
              <a:ext uri="{FF2B5EF4-FFF2-40B4-BE49-F238E27FC236}">
                <a16:creationId xmlns:a16="http://schemas.microsoft.com/office/drawing/2014/main" id="{27BD14FD-E0BB-45D7-9B81-6FD2C4EE21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611" y="1196753"/>
            <a:ext cx="6292391" cy="20210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400" b="1">
                <a:solidFill>
                  <a:schemeClr val="bg1"/>
                </a:solidFill>
                <a:latin typeface="Bariol Bold" panose="02000506040000020003" pitchFamily="2" charset="0"/>
              </a:defRPr>
            </a:lvl1pPr>
          </a:lstStyle>
          <a:p>
            <a:r>
              <a:rPr lang="es-ES"/>
              <a:t>Titulo de la presentación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E2E82385-A3D2-4642-B6EE-2C5A2FD4C5F9}"/>
              </a:ext>
            </a:extLst>
          </p:cNvPr>
          <p:cNvCxnSpPr>
            <a:cxnSpLocks/>
          </p:cNvCxnSpPr>
          <p:nvPr userDrawn="1"/>
        </p:nvCxnSpPr>
        <p:spPr>
          <a:xfrm>
            <a:off x="512611" y="3364945"/>
            <a:ext cx="6306023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ángulo 2">
            <a:extLst>
              <a:ext uri="{FF2B5EF4-FFF2-40B4-BE49-F238E27FC236}">
                <a16:creationId xmlns:a16="http://schemas.microsoft.com/office/drawing/2014/main" id="{D0C545D8-14DB-E9A7-0118-89D3C8F0A3FC}"/>
              </a:ext>
            </a:extLst>
          </p:cNvPr>
          <p:cNvSpPr/>
          <p:nvPr userDrawn="1"/>
        </p:nvSpPr>
        <p:spPr>
          <a:xfrm>
            <a:off x="10778067" y="5935133"/>
            <a:ext cx="1413932" cy="9228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17176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F4E7DB3-F973-4261-8821-285FFC0CED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234468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F4E7DB3-F973-4261-8821-285FFC0CED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>
            <a:extLst>
              <a:ext uri="{FF2B5EF4-FFF2-40B4-BE49-F238E27FC236}">
                <a16:creationId xmlns:a16="http://schemas.microsoft.com/office/drawing/2014/main" id="{7AA6B5B3-B834-0D5A-63A7-C07E28E1F99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8626"/>
            <a:ext cx="12192000" cy="6854723"/>
          </a:xfrm>
          <a:prstGeom prst="rect">
            <a:avLst/>
          </a:prstGeom>
        </p:spPr>
      </p:pic>
      <p:sp>
        <p:nvSpPr>
          <p:cNvPr id="3" name="Marcador de contenido 10">
            <a:extLst>
              <a:ext uri="{FF2B5EF4-FFF2-40B4-BE49-F238E27FC236}">
                <a16:creationId xmlns:a16="http://schemas.microsoft.com/office/drawing/2014/main" id="{4671186B-B230-569E-5853-AA65D1C461D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93479" y="1200664"/>
            <a:ext cx="5760640" cy="1872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646" b="1">
                <a:solidFill>
                  <a:srgbClr val="05446B"/>
                </a:solidFill>
              </a:defRPr>
            </a:lvl1pPr>
          </a:lstStyle>
          <a:p>
            <a:r>
              <a:rPr lang="es-ES"/>
              <a:t>GRACIAS POR SU ATENCIÓN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4E3EB7AC-6B69-06CB-1B26-1FE72EBF8A60}"/>
              </a:ext>
            </a:extLst>
          </p:cNvPr>
          <p:cNvGrpSpPr/>
          <p:nvPr userDrawn="1"/>
        </p:nvGrpSpPr>
        <p:grpSpPr>
          <a:xfrm>
            <a:off x="148254" y="6108295"/>
            <a:ext cx="9643024" cy="602337"/>
            <a:chOff x="148254" y="6108295"/>
            <a:chExt cx="9643024" cy="602337"/>
          </a:xfrm>
        </p:grpSpPr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9125A7DC-9056-FF95-645D-99BC6FFC6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148254" y="6108295"/>
              <a:ext cx="3649167" cy="591105"/>
            </a:xfrm>
            <a:prstGeom prst="rect">
              <a:avLst/>
            </a:prstGeom>
          </p:spPr>
        </p:pic>
        <p:pic>
          <p:nvPicPr>
            <p:cNvPr id="8" name="Picture 14" descr="PERTE, MRR, React-EU... Guía para no perderse con los fondos europeos">
              <a:extLst>
                <a:ext uri="{FF2B5EF4-FFF2-40B4-BE49-F238E27FC236}">
                  <a16:creationId xmlns:a16="http://schemas.microsoft.com/office/drawing/2014/main" id="{3BC8DECC-1D9C-AD97-4C87-D5DC478D39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19" t="15876" r="8657" b="10625"/>
            <a:stretch/>
          </p:blipFill>
          <p:spPr bwMode="auto">
            <a:xfrm>
              <a:off x="3867903" y="6119527"/>
              <a:ext cx="1282461" cy="5911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Imagen 8" descr="Forma&#10;&#10;Descripción generada automáticamente con confianza media">
              <a:extLst>
                <a:ext uri="{FF2B5EF4-FFF2-40B4-BE49-F238E27FC236}">
                  <a16:creationId xmlns:a16="http://schemas.microsoft.com/office/drawing/2014/main" id="{0AE8A18A-E89C-EFDB-6558-DEEF0AF77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960654" y="6108295"/>
              <a:ext cx="3830624" cy="591956"/>
            </a:xfrm>
            <a:prstGeom prst="rect">
              <a:avLst/>
            </a:prstGeom>
          </p:spPr>
        </p:pic>
        <p:pic>
          <p:nvPicPr>
            <p:cNvPr id="10" name="Picture 16">
              <a:extLst>
                <a:ext uri="{FF2B5EF4-FFF2-40B4-BE49-F238E27FC236}">
                  <a16:creationId xmlns:a16="http://schemas.microsoft.com/office/drawing/2014/main" id="{A2B23F4C-962E-6727-5FFE-07C4D1AA258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/>
            <a:srcRect l="50000" t="20036" r="13408" b="16888"/>
            <a:stretch/>
          </p:blipFill>
          <p:spPr>
            <a:xfrm>
              <a:off x="5220846" y="6108295"/>
              <a:ext cx="659412" cy="6023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0997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69875" y="1600200"/>
            <a:ext cx="11693525" cy="482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0"/>
          </p:nvPr>
        </p:nvSpPr>
        <p:spPr>
          <a:xfrm>
            <a:off x="9194800" y="65087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fld id="{4864D778-36D4-4C2C-AC2D-C9BA97D5E6D1}" type="slidenum">
              <a:rPr lang="es-ES" altLang="es-ES"/>
              <a:pPr/>
              <a:t>‹Nº›</a:t>
            </a:fld>
            <a:endParaRPr lang="es-ES" altLang="es-ES"/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139700" y="285008"/>
            <a:ext cx="11811000" cy="1061193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43B52231-F643-4D09-9B59-F44E9B6FC0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03" y="6404312"/>
            <a:ext cx="2138348" cy="408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58660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7500" y="6391275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F0D616-F2BD-4C76-9C10-FE091FF0ACE6}" type="slidenum">
              <a:rPr lang="es-ES" altLang="es-ES"/>
              <a:pPr/>
              <a:t>‹Nº›</a:t>
            </a:fld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3233367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AE75EC17-8237-479F-9CC8-3066D54E87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76320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AE75EC17-8237-479F-9CC8-3066D54E87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áfico 14">
            <a:extLst>
              <a:ext uri="{FF2B5EF4-FFF2-40B4-BE49-F238E27FC236}">
                <a16:creationId xmlns:a16="http://schemas.microsoft.com/office/drawing/2014/main" id="{2A6D3D07-A9ED-417C-A9C6-F2ED9E7E0F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28143" y="6373126"/>
            <a:ext cx="1063857" cy="260648"/>
          </a:xfrm>
          <a:prstGeom prst="rect">
            <a:avLst/>
          </a:prstGeom>
        </p:spPr>
      </p:pic>
      <p:sp>
        <p:nvSpPr>
          <p:cNvPr id="4" name="Marcador de contenido 12">
            <a:extLst>
              <a:ext uri="{FF2B5EF4-FFF2-40B4-BE49-F238E27FC236}">
                <a16:creationId xmlns:a16="http://schemas.microsoft.com/office/drawing/2014/main" id="{F3960B88-55CF-482C-9366-50103F4DADB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32763" y="1024213"/>
            <a:ext cx="11335252" cy="7386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/>
              <a:t>Añadir subtitulo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FB9BDE34-B198-481F-927F-E9E3FC589F7B}"/>
              </a:ext>
            </a:extLst>
          </p:cNvPr>
          <p:cNvCxnSpPr/>
          <p:nvPr userDrawn="1"/>
        </p:nvCxnSpPr>
        <p:spPr>
          <a:xfrm>
            <a:off x="0" y="789212"/>
            <a:ext cx="9641009" cy="0"/>
          </a:xfrm>
          <a:prstGeom prst="line">
            <a:avLst/>
          </a:prstGeom>
          <a:ln>
            <a:solidFill>
              <a:srgbClr val="EFD3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contenido 10">
            <a:extLst>
              <a:ext uri="{FF2B5EF4-FFF2-40B4-BE49-F238E27FC236}">
                <a16:creationId xmlns:a16="http://schemas.microsoft.com/office/drawing/2014/main" id="{FA84F215-7E51-4F86-B180-EAA002B220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764" y="1916832"/>
            <a:ext cx="11335253" cy="43891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/>
              <a:t>Añadir contenido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6BD5876-CDCE-43AD-93ED-9D310A8B4C1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" y="0"/>
            <a:ext cx="12192000" cy="707136"/>
          </a:xfrm>
          <a:prstGeom prst="rect">
            <a:avLst/>
          </a:prstGeom>
        </p:spPr>
      </p:pic>
      <p:sp>
        <p:nvSpPr>
          <p:cNvPr id="11" name="Título 9">
            <a:extLst>
              <a:ext uri="{FF2B5EF4-FFF2-40B4-BE49-F238E27FC236}">
                <a16:creationId xmlns:a16="http://schemas.microsoft.com/office/drawing/2014/main" id="{E66E1404-6826-4CBD-8A8D-16F79A1813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137" y="361728"/>
            <a:ext cx="10910919" cy="427484"/>
          </a:xfrm>
          <a:prstGeom prst="rect">
            <a:avLst/>
          </a:prstGeom>
        </p:spPr>
        <p:txBody>
          <a:bodyPr/>
          <a:lstStyle>
            <a:lvl1pPr algn="l">
              <a:defRPr lang="es-ES" sz="2215" b="1" kern="1200" dirty="0">
                <a:solidFill>
                  <a:srgbClr val="05446B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     AÑADIR TEXTO</a:t>
            </a:r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77A0E6CF-6D32-984C-B678-AFA6F7B6C8CB}"/>
              </a:ext>
            </a:extLst>
          </p:cNvPr>
          <p:cNvGrpSpPr/>
          <p:nvPr userDrawn="1"/>
        </p:nvGrpSpPr>
        <p:grpSpPr>
          <a:xfrm>
            <a:off x="729801" y="6373126"/>
            <a:ext cx="4884244" cy="312837"/>
            <a:chOff x="72763" y="6403533"/>
            <a:chExt cx="3338785" cy="263200"/>
          </a:xfrm>
        </p:grpSpPr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50DEB43D-681F-F54E-B34A-A610F0B39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72763" y="6403533"/>
              <a:ext cx="1368953" cy="258292"/>
            </a:xfrm>
            <a:prstGeom prst="rect">
              <a:avLst/>
            </a:prstGeom>
          </p:spPr>
        </p:pic>
        <p:pic>
          <p:nvPicPr>
            <p:cNvPr id="20" name="Picture 14" descr="PERTE, MRR, React-EU... Guía para no perderse con los fondos europeos">
              <a:extLst>
                <a:ext uri="{FF2B5EF4-FFF2-40B4-BE49-F238E27FC236}">
                  <a16:creationId xmlns:a16="http://schemas.microsoft.com/office/drawing/2014/main" id="{803C2331-8C3A-B349-B9DB-242ADFCD92E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19" t="15876" r="8657" b="10625"/>
            <a:stretch/>
          </p:blipFill>
          <p:spPr bwMode="auto">
            <a:xfrm>
              <a:off x="1468157" y="6408441"/>
              <a:ext cx="481104" cy="258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Imagen 20" descr="Forma&#10;&#10;Descripción generada automáticamente con confianza media">
              <a:extLst>
                <a:ext uri="{FF2B5EF4-FFF2-40B4-BE49-F238E27FC236}">
                  <a16:creationId xmlns:a16="http://schemas.microsoft.com/office/drawing/2014/main" id="{61D26490-9DC4-AF4D-9054-32DDC6DB9B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974523" y="6403533"/>
              <a:ext cx="1437025" cy="2586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4759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E07918D3-CFD9-4E2D-A2B6-BF21D7F84D77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9507336"/>
              </p:ext>
            </p:extLst>
          </p:nvPr>
        </p:nvGraphicFramePr>
        <p:xfrm>
          <a:off x="2824" y="1101"/>
          <a:ext cx="2823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2" imgW="395" imgH="396" progId="TCLayout.ActiveDocument.1">
                  <p:embed/>
                </p:oleObj>
              </mc:Choice>
              <mc:Fallback>
                <p:oleObj name="Diapositiva de think-cell" r:id="rId12" imgW="395" imgH="39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E07918D3-CFD9-4E2D-A2B6-BF21D7F84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824" y="1101"/>
                        <a:ext cx="2823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13">
            <a:extLst>
              <a:ext uri="{FF2B5EF4-FFF2-40B4-BE49-F238E27FC236}">
                <a16:creationId xmlns:a16="http://schemas.microsoft.com/office/drawing/2014/main" id="{C3290808-2357-418D-B597-9FEFA0F4183D}"/>
              </a:ext>
            </a:extLst>
          </p:cNvPr>
          <p:cNvPicPr/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15940" y="6293680"/>
            <a:ext cx="746460" cy="39484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n 14">
            <a:extLst>
              <a:ext uri="{FF2B5EF4-FFF2-40B4-BE49-F238E27FC236}">
                <a16:creationId xmlns:a16="http://schemas.microsoft.com/office/drawing/2014/main" id="{41D8716D-5A35-4FDB-A440-65A002D29E2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287" y="6239873"/>
            <a:ext cx="2822713" cy="535485"/>
          </a:xfrm>
          <a:prstGeom prst="rect">
            <a:avLst/>
          </a:prstGeom>
        </p:spPr>
      </p:pic>
      <p:pic>
        <p:nvPicPr>
          <p:cNvPr id="6" name="Imagen 9">
            <a:extLst>
              <a:ext uri="{FF2B5EF4-FFF2-40B4-BE49-F238E27FC236}">
                <a16:creationId xmlns:a16="http://schemas.microsoft.com/office/drawing/2014/main" id="{46BD5876-CDCE-43AD-93ED-9D310A8B4C1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-1" y="0"/>
            <a:ext cx="12192000" cy="707136"/>
          </a:xfrm>
          <a:prstGeom prst="rect">
            <a:avLst/>
          </a:prstGeom>
        </p:spPr>
      </p:pic>
      <p:pic>
        <p:nvPicPr>
          <p:cNvPr id="9" name="Gráfico 14">
            <a:extLst>
              <a:ext uri="{FF2B5EF4-FFF2-40B4-BE49-F238E27FC236}">
                <a16:creationId xmlns:a16="http://schemas.microsoft.com/office/drawing/2014/main" id="{2A6D3D07-A9ED-417C-A9C6-F2ED9E7E0F33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128142" y="6373126"/>
            <a:ext cx="1063857" cy="260648"/>
          </a:xfrm>
          <a:prstGeom prst="rect">
            <a:avLst/>
          </a:prstGeom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95409" y="633033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3D41CAF-7772-4D25-BA8B-258115B403BB}" type="slidenum">
              <a:rPr lang="es-ES" altLang="es-ES" smtClean="0"/>
              <a:pPr/>
              <a:t>‹Nº›</a:t>
            </a:fld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282667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5" r:id="rId5"/>
    <p:sldLayoutId id="2147483700" r:id="rId6"/>
    <p:sldLayoutId id="2147483674" r:id="rId7"/>
    <p:sldLayoutId id="2147483672" r:id="rId8"/>
    <p:sldLayoutId id="2147483682" r:id="rId9"/>
  </p:sldLayoutIdLst>
  <p:hf hdr="0" ftr="0" dt="0"/>
  <p:txStyles>
    <p:titleStyle>
      <a:lvl1pPr algn="ctr" defTabSz="356085" rtl="0" eaLnBrk="1" latinLnBrk="0" hangingPunct="1">
        <a:spcBef>
          <a:spcPct val="0"/>
        </a:spcBef>
        <a:buNone/>
        <a:defRPr sz="171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3532" indent="-133532" algn="l" defTabSz="356085" rtl="0" eaLnBrk="1" latinLnBrk="0" hangingPunct="1">
        <a:spcBef>
          <a:spcPct val="20000"/>
        </a:spcBef>
        <a:buFont typeface="Arial" pitchFamily="34" charset="0"/>
        <a:buChar char="•"/>
        <a:defRPr sz="1246" kern="1200">
          <a:solidFill>
            <a:schemeClr val="tx1"/>
          </a:solidFill>
          <a:latin typeface="+mn-lt"/>
          <a:ea typeface="+mn-ea"/>
          <a:cs typeface="+mn-cs"/>
        </a:defRPr>
      </a:lvl1pPr>
      <a:lvl2pPr marL="289318" indent="-111276" algn="l" defTabSz="356085" rtl="0" eaLnBrk="1" latinLnBrk="0" hangingPunct="1">
        <a:spcBef>
          <a:spcPct val="20000"/>
        </a:spcBef>
        <a:buFont typeface="Arial" pitchFamily="34" charset="0"/>
        <a:buChar char="–"/>
        <a:defRPr sz="1090" kern="1200">
          <a:solidFill>
            <a:schemeClr val="tx1"/>
          </a:solidFill>
          <a:latin typeface="+mn-lt"/>
          <a:ea typeface="+mn-ea"/>
          <a:cs typeface="+mn-cs"/>
        </a:defRPr>
      </a:lvl2pPr>
      <a:lvl3pPr marL="445106" indent="-89021" algn="l" defTabSz="356085" rtl="0" eaLnBrk="1" latinLnBrk="0" hangingPunct="1">
        <a:spcBef>
          <a:spcPct val="20000"/>
        </a:spcBef>
        <a:buFont typeface="Arial" pitchFamily="34" charset="0"/>
        <a:buChar char="•"/>
        <a:defRPr sz="935" kern="1200">
          <a:solidFill>
            <a:schemeClr val="tx1"/>
          </a:solidFill>
          <a:latin typeface="+mn-lt"/>
          <a:ea typeface="+mn-ea"/>
          <a:cs typeface="+mn-cs"/>
        </a:defRPr>
      </a:lvl3pPr>
      <a:lvl4pPr marL="623148" indent="-89021" algn="l" defTabSz="356085" rtl="0" eaLnBrk="1" latinLnBrk="0" hangingPunct="1">
        <a:spcBef>
          <a:spcPct val="20000"/>
        </a:spcBef>
        <a:buFont typeface="Arial" pitchFamily="34" charset="0"/>
        <a:buChar char="–"/>
        <a:defRPr sz="779" kern="1200">
          <a:solidFill>
            <a:schemeClr val="tx1"/>
          </a:solidFill>
          <a:latin typeface="+mn-lt"/>
          <a:ea typeface="+mn-ea"/>
          <a:cs typeface="+mn-cs"/>
        </a:defRPr>
      </a:lvl4pPr>
      <a:lvl5pPr marL="801190" indent="-89021" algn="l" defTabSz="356085" rtl="0" eaLnBrk="1" latinLnBrk="0" hangingPunct="1">
        <a:spcBef>
          <a:spcPct val="20000"/>
        </a:spcBef>
        <a:buFont typeface="Arial" pitchFamily="34" charset="0"/>
        <a:buChar char="»"/>
        <a:defRPr sz="779" kern="1200">
          <a:solidFill>
            <a:schemeClr val="tx1"/>
          </a:solidFill>
          <a:latin typeface="+mn-lt"/>
          <a:ea typeface="+mn-ea"/>
          <a:cs typeface="+mn-cs"/>
        </a:defRPr>
      </a:lvl5pPr>
      <a:lvl6pPr marL="979233" indent="-89021" algn="l" defTabSz="356085" rtl="0" eaLnBrk="1" latinLnBrk="0" hangingPunct="1">
        <a:spcBef>
          <a:spcPct val="20000"/>
        </a:spcBef>
        <a:buFont typeface="Arial" pitchFamily="34" charset="0"/>
        <a:buChar char="•"/>
        <a:defRPr sz="779" kern="1200">
          <a:solidFill>
            <a:schemeClr val="tx1"/>
          </a:solidFill>
          <a:latin typeface="+mn-lt"/>
          <a:ea typeface="+mn-ea"/>
          <a:cs typeface="+mn-cs"/>
        </a:defRPr>
      </a:lvl6pPr>
      <a:lvl7pPr marL="1157275" indent="-89021" algn="l" defTabSz="356085" rtl="0" eaLnBrk="1" latinLnBrk="0" hangingPunct="1">
        <a:spcBef>
          <a:spcPct val="20000"/>
        </a:spcBef>
        <a:buFont typeface="Arial" pitchFamily="34" charset="0"/>
        <a:buChar char="•"/>
        <a:defRPr sz="779" kern="1200">
          <a:solidFill>
            <a:schemeClr val="tx1"/>
          </a:solidFill>
          <a:latin typeface="+mn-lt"/>
          <a:ea typeface="+mn-ea"/>
          <a:cs typeface="+mn-cs"/>
        </a:defRPr>
      </a:lvl7pPr>
      <a:lvl8pPr marL="1335317" indent="-89021" algn="l" defTabSz="356085" rtl="0" eaLnBrk="1" latinLnBrk="0" hangingPunct="1">
        <a:spcBef>
          <a:spcPct val="20000"/>
        </a:spcBef>
        <a:buFont typeface="Arial" pitchFamily="34" charset="0"/>
        <a:buChar char="•"/>
        <a:defRPr sz="779" kern="1200">
          <a:solidFill>
            <a:schemeClr val="tx1"/>
          </a:solidFill>
          <a:latin typeface="+mn-lt"/>
          <a:ea typeface="+mn-ea"/>
          <a:cs typeface="+mn-cs"/>
        </a:defRPr>
      </a:lvl8pPr>
      <a:lvl9pPr marL="1513359" indent="-89021" algn="l" defTabSz="356085" rtl="0" eaLnBrk="1" latinLnBrk="0" hangingPunct="1">
        <a:spcBef>
          <a:spcPct val="20000"/>
        </a:spcBef>
        <a:buFont typeface="Arial" pitchFamily="34" charset="0"/>
        <a:buChar char="•"/>
        <a:defRPr sz="7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356085" rtl="0" eaLnBrk="1" latinLnBrk="0" hangingPunct="1">
        <a:defRPr sz="701" kern="1200">
          <a:solidFill>
            <a:schemeClr val="tx1"/>
          </a:solidFill>
          <a:latin typeface="+mn-lt"/>
          <a:ea typeface="+mn-ea"/>
          <a:cs typeface="+mn-cs"/>
        </a:defRPr>
      </a:lvl1pPr>
      <a:lvl2pPr marL="178042" algn="l" defTabSz="356085" rtl="0" eaLnBrk="1" latinLnBrk="0" hangingPunct="1">
        <a:defRPr sz="701" kern="1200">
          <a:solidFill>
            <a:schemeClr val="tx1"/>
          </a:solidFill>
          <a:latin typeface="+mn-lt"/>
          <a:ea typeface="+mn-ea"/>
          <a:cs typeface="+mn-cs"/>
        </a:defRPr>
      </a:lvl2pPr>
      <a:lvl3pPr marL="356085" algn="l" defTabSz="356085" rtl="0" eaLnBrk="1" latinLnBrk="0" hangingPunct="1">
        <a:defRPr sz="701" kern="1200">
          <a:solidFill>
            <a:schemeClr val="tx1"/>
          </a:solidFill>
          <a:latin typeface="+mn-lt"/>
          <a:ea typeface="+mn-ea"/>
          <a:cs typeface="+mn-cs"/>
        </a:defRPr>
      </a:lvl3pPr>
      <a:lvl4pPr marL="534127" algn="l" defTabSz="356085" rtl="0" eaLnBrk="1" latinLnBrk="0" hangingPunct="1">
        <a:defRPr sz="701" kern="1200">
          <a:solidFill>
            <a:schemeClr val="tx1"/>
          </a:solidFill>
          <a:latin typeface="+mn-lt"/>
          <a:ea typeface="+mn-ea"/>
          <a:cs typeface="+mn-cs"/>
        </a:defRPr>
      </a:lvl4pPr>
      <a:lvl5pPr marL="712169" algn="l" defTabSz="356085" rtl="0" eaLnBrk="1" latinLnBrk="0" hangingPunct="1">
        <a:defRPr sz="701" kern="1200">
          <a:solidFill>
            <a:schemeClr val="tx1"/>
          </a:solidFill>
          <a:latin typeface="+mn-lt"/>
          <a:ea typeface="+mn-ea"/>
          <a:cs typeface="+mn-cs"/>
        </a:defRPr>
      </a:lvl5pPr>
      <a:lvl6pPr marL="890211" algn="l" defTabSz="356085" rtl="0" eaLnBrk="1" latinLnBrk="0" hangingPunct="1">
        <a:defRPr sz="701" kern="1200">
          <a:solidFill>
            <a:schemeClr val="tx1"/>
          </a:solidFill>
          <a:latin typeface="+mn-lt"/>
          <a:ea typeface="+mn-ea"/>
          <a:cs typeface="+mn-cs"/>
        </a:defRPr>
      </a:lvl6pPr>
      <a:lvl7pPr marL="1068254" algn="l" defTabSz="356085" rtl="0" eaLnBrk="1" latinLnBrk="0" hangingPunct="1">
        <a:defRPr sz="701" kern="1200">
          <a:solidFill>
            <a:schemeClr val="tx1"/>
          </a:solidFill>
          <a:latin typeface="+mn-lt"/>
          <a:ea typeface="+mn-ea"/>
          <a:cs typeface="+mn-cs"/>
        </a:defRPr>
      </a:lvl7pPr>
      <a:lvl8pPr marL="1246296" algn="l" defTabSz="356085" rtl="0" eaLnBrk="1" latinLnBrk="0" hangingPunct="1">
        <a:defRPr sz="701" kern="1200">
          <a:solidFill>
            <a:schemeClr val="tx1"/>
          </a:solidFill>
          <a:latin typeface="+mn-lt"/>
          <a:ea typeface="+mn-ea"/>
          <a:cs typeface="+mn-cs"/>
        </a:defRPr>
      </a:lvl8pPr>
      <a:lvl9pPr marL="1424338" algn="l" defTabSz="356085" rtl="0" eaLnBrk="1" latinLnBrk="0" hangingPunct="1">
        <a:defRPr sz="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hyperlink" Target="https://pngimg.com/download/27436" TargetMode="External"/><Relationship Id="rId18" Type="http://schemas.openxmlformats.org/officeDocument/2006/relationships/image" Target="../media/image32.png"/><Relationship Id="rId3" Type="http://schemas.openxmlformats.org/officeDocument/2006/relationships/hyperlink" Target="https://www.onwebsecurity.com/configuration/automatic-xml-validation-when-using-git.html" TargetMode="External"/><Relationship Id="rId21" Type="http://schemas.openxmlformats.org/officeDocument/2006/relationships/image" Target="../media/image22.png"/><Relationship Id="rId7" Type="http://schemas.openxmlformats.org/officeDocument/2006/relationships/hyperlink" Target="https://www.pluginsxbmc.com/2016/10/como-crear-vuestro-propio-repositorio.html" TargetMode="External"/><Relationship Id="rId12" Type="http://schemas.openxmlformats.org/officeDocument/2006/relationships/image" Target="../media/image28.png"/><Relationship Id="rId17" Type="http://schemas.openxmlformats.org/officeDocument/2006/relationships/image" Target="../media/image31.png"/><Relationship Id="rId2" Type="http://schemas.openxmlformats.org/officeDocument/2006/relationships/image" Target="../media/image23.png"/><Relationship Id="rId16" Type="http://schemas.openxmlformats.org/officeDocument/2006/relationships/hyperlink" Target="https://unadzsurlab.com/UML/U2/principios_de_uml_orientado_a_objetos__diagramas_de_estructura.html" TargetMode="External"/><Relationship Id="rId20" Type="http://schemas.openxmlformats.org/officeDocument/2006/relationships/hyperlink" Target="https://borrowbits.com/2013/03/how-to-parsear-variables-json-con-php/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11" Type="http://schemas.openxmlformats.org/officeDocument/2006/relationships/hyperlink" Target="https://skarletmil.blogspot.com/2016/01/la-memoria-humana.html" TargetMode="External"/><Relationship Id="rId5" Type="http://schemas.microsoft.com/office/2007/relationships/hdphoto" Target="../media/hdphoto1.wdp"/><Relationship Id="rId15" Type="http://schemas.openxmlformats.org/officeDocument/2006/relationships/image" Target="../media/image30.png"/><Relationship Id="rId10" Type="http://schemas.openxmlformats.org/officeDocument/2006/relationships/image" Target="../media/image27.png"/><Relationship Id="rId19" Type="http://schemas.openxmlformats.org/officeDocument/2006/relationships/image" Target="../media/image33.jpeg"/><Relationship Id="rId4" Type="http://schemas.openxmlformats.org/officeDocument/2006/relationships/image" Target="../media/image24.png"/><Relationship Id="rId9" Type="http://schemas.openxmlformats.org/officeDocument/2006/relationships/hyperlink" Target="https://1x1.miraheze.org/wiki/Teor%C3%ADa_de_la_Densidad_Sem%C3%A1ntica" TargetMode="External"/><Relationship Id="rId14" Type="http://schemas.openxmlformats.org/officeDocument/2006/relationships/image" Target="../media/image29.png"/><Relationship Id="rId22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11" Type="http://schemas.openxmlformats.org/officeDocument/2006/relationships/image" Target="../media/image20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22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35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microsoft.com/office/2007/relationships/hdphoto" Target="../media/hdphoto1.wdp"/><Relationship Id="rId7" Type="http://schemas.openxmlformats.org/officeDocument/2006/relationships/image" Target="../media/image2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luginsxbmc.com/2016/10/como-crear-vuestro-propio-repositorio.html" TargetMode="External"/><Relationship Id="rId5" Type="http://schemas.openxmlformats.org/officeDocument/2006/relationships/image" Target="../media/image25.png"/><Relationship Id="rId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42.png"/><Relationship Id="rId12" Type="http://schemas.openxmlformats.org/officeDocument/2006/relationships/image" Target="../media/image2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11" Type="http://schemas.openxmlformats.org/officeDocument/2006/relationships/image" Target="../media/image22.png"/><Relationship Id="rId5" Type="http://schemas.openxmlformats.org/officeDocument/2006/relationships/diagramColors" Target="../diagrams/colors3.xml"/><Relationship Id="rId10" Type="http://schemas.openxmlformats.org/officeDocument/2006/relationships/image" Target="../media/image45.sv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4.xml"/><Relationship Id="rId7" Type="http://schemas.microsoft.com/office/2007/relationships/hdphoto" Target="../media/hdphoto2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4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3 Título">
            <a:extLst>
              <a:ext uri="{FF2B5EF4-FFF2-40B4-BE49-F238E27FC236}">
                <a16:creationId xmlns:a16="http://schemas.microsoft.com/office/drawing/2014/main" id="{2BE23508-5FC3-6531-470B-F6C86BD46AEE}"/>
              </a:ext>
            </a:extLst>
          </p:cNvPr>
          <p:cNvSpPr txBox="1">
            <a:spLocks/>
          </p:cNvSpPr>
          <p:nvPr/>
        </p:nvSpPr>
        <p:spPr bwMode="auto">
          <a:xfrm>
            <a:off x="409850" y="1806275"/>
            <a:ext cx="8587059" cy="1273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>
              <a:lnSpc>
                <a:spcPct val="100000"/>
              </a:lnSpc>
              <a:tabLst>
                <a:tab pos="4122738" algn="l"/>
              </a:tabLst>
            </a:pPr>
            <a:r>
              <a:rPr lang="en-GB" b="1" dirty="0">
                <a:solidFill>
                  <a:schemeClr val="bg1"/>
                </a:solidFill>
                <a:latin typeface="+mn-lt"/>
              </a:rPr>
              <a:t>The social factor in European </a:t>
            </a:r>
            <a:endParaRPr lang="en-GB" sz="3200" b="1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tabLst>
                <a:tab pos="4122738" algn="l"/>
              </a:tabLst>
            </a:pPr>
            <a:r>
              <a:rPr lang="en-GB" b="1" dirty="0">
                <a:solidFill>
                  <a:schemeClr val="bg1"/>
                </a:solidFill>
                <a:latin typeface="+mn-lt"/>
              </a:rPr>
              <a:t>semantic reusability</a:t>
            </a:r>
            <a:endParaRPr lang="en-GB" sz="3200" b="1" dirty="0">
              <a:solidFill>
                <a:schemeClr val="bg1"/>
              </a:solidFill>
              <a:latin typeface="+mn-lt"/>
              <a:cs typeface="Calibri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C5F22773-6C9F-4075-9646-15E05C1095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7278" y="6127107"/>
            <a:ext cx="2240134" cy="440567"/>
          </a:xfrm>
          <a:prstGeom prst="rect">
            <a:avLst/>
          </a:prstGeom>
        </p:spPr>
      </p:pic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F9211161-C033-24AB-A1F0-B3292DF79D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9850" y="3516834"/>
            <a:ext cx="6518488" cy="866726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US" dirty="0">
                <a:latin typeface="Bariol Regular"/>
              </a:rPr>
              <a:t>EU wide registry of public sector semantic models</a:t>
            </a:r>
          </a:p>
          <a:p>
            <a:r>
              <a:rPr lang="en-GB" sz="2000" i="1" dirty="0">
                <a:latin typeface="Bariol Regular"/>
              </a:rPr>
              <a:t>SEMIC Pre-Conference Workshops</a:t>
            </a:r>
            <a:endParaRPr lang="es-ES" sz="1600" i="1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E2BF7A-3553-26C0-4431-C23E37ABFF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9850" y="4383560"/>
            <a:ext cx="5965490" cy="440567"/>
          </a:xfrm>
        </p:spPr>
        <p:txBody>
          <a:bodyPr lIns="91440" tIns="45720" rIns="91440" bIns="45720" anchor="t"/>
          <a:lstStyle/>
          <a:p>
            <a:r>
              <a:rPr lang="en-GB" sz="1600" dirty="0">
                <a:latin typeface="Bariol Regular"/>
              </a:rPr>
              <a:t>October 17, 202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C8E51FD-5FDA-88B9-A446-EC879FC42B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65920" y="5141595"/>
            <a:ext cx="993648" cy="415290"/>
          </a:xfrm>
          <a:prstGeom prst="rect">
            <a:avLst/>
          </a:prstGeom>
        </p:spPr>
      </p:pic>
      <p:grpSp>
        <p:nvGrpSpPr>
          <p:cNvPr id="13" name="Grupo 6">
            <a:extLst>
              <a:ext uri="{FF2B5EF4-FFF2-40B4-BE49-F238E27FC236}">
                <a16:creationId xmlns:a16="http://schemas.microsoft.com/office/drawing/2014/main" id="{A09ABFB7-5034-5D6F-BDDD-BC7B6E2611D5}"/>
              </a:ext>
            </a:extLst>
          </p:cNvPr>
          <p:cNvGrpSpPr/>
          <p:nvPr/>
        </p:nvGrpSpPr>
        <p:grpSpPr>
          <a:xfrm>
            <a:off x="10672599" y="5140223"/>
            <a:ext cx="839233" cy="826272"/>
            <a:chOff x="7642887" y="1135151"/>
            <a:chExt cx="1698769" cy="1685808"/>
          </a:xfrm>
        </p:grpSpPr>
        <p:pic>
          <p:nvPicPr>
            <p:cNvPr id="14" name="Imagen 10">
              <a:extLst>
                <a:ext uri="{FF2B5EF4-FFF2-40B4-BE49-F238E27FC236}">
                  <a16:creationId xmlns:a16="http://schemas.microsoft.com/office/drawing/2014/main" id="{9B5B3201-6603-2DBB-06AC-82BC4C5733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310" t="4534" r="5788" b="2667"/>
            <a:stretch/>
          </p:blipFill>
          <p:spPr>
            <a:xfrm>
              <a:off x="7642887" y="1135151"/>
              <a:ext cx="1698769" cy="1685808"/>
            </a:xfrm>
            <a:prstGeom prst="flowChartConnector">
              <a:avLst/>
            </a:prstGeom>
            <a:effectLst>
              <a:outerShdw blurRad="177800" dist="1397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5" name="CuadroTexto 13">
              <a:extLst>
                <a:ext uri="{FF2B5EF4-FFF2-40B4-BE49-F238E27FC236}">
                  <a16:creationId xmlns:a16="http://schemas.microsoft.com/office/drawing/2014/main" id="{4CAFB59F-3AFF-9147-38BD-3D250CA467FC}"/>
                </a:ext>
              </a:extLst>
            </p:cNvPr>
            <p:cNvSpPr txBox="1"/>
            <p:nvPr/>
          </p:nvSpPr>
          <p:spPr>
            <a:xfrm>
              <a:off x="8407120" y="1204767"/>
              <a:ext cx="184730" cy="369332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>
              <a:defPPr>
                <a:defRPr lang="es-ES_tradn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b="1" dirty="0">
                <a:solidFill>
                  <a:schemeClr val="bg1"/>
                </a:solidFill>
                <a:ea typeface="Calibri"/>
                <a:cs typeface="Calibri"/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F2277EBE-A737-C350-87D5-402E92437D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77338" y="5644515"/>
            <a:ext cx="1365885" cy="372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9308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 descr="Icono&#10;&#10;Descripción generada automáticamente">
            <a:extLst>
              <a:ext uri="{FF2B5EF4-FFF2-40B4-BE49-F238E27FC236}">
                <a16:creationId xmlns:a16="http://schemas.microsoft.com/office/drawing/2014/main" id="{87087C8B-F773-52E4-2CA7-82411CF7CA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0002390" y="3948723"/>
            <a:ext cx="712503" cy="699478"/>
          </a:xfrm>
          <a:prstGeom prst="rect">
            <a:avLst/>
          </a:prstGeom>
        </p:spPr>
      </p:pic>
      <p:pic>
        <p:nvPicPr>
          <p:cNvPr id="11" name="Picture 2" descr="Map of the European Union in two years [4592 x 3196] : MapPorn">
            <a:extLst>
              <a:ext uri="{FF2B5EF4-FFF2-40B4-BE49-F238E27FC236}">
                <a16:creationId xmlns:a16="http://schemas.microsoft.com/office/drawing/2014/main" id="{F68DDE64-EEB5-2D66-27F1-7B658BDCDF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FilmGrain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292"/>
          <a:stretch/>
        </p:blipFill>
        <p:spPr bwMode="auto">
          <a:xfrm>
            <a:off x="747156" y="949312"/>
            <a:ext cx="5801612" cy="476680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ítulo 3">
            <a:extLst>
              <a:ext uri="{FF2B5EF4-FFF2-40B4-BE49-F238E27FC236}">
                <a16:creationId xmlns:a16="http://schemas.microsoft.com/office/drawing/2014/main" id="{D5620F26-7264-F5E0-F188-B255F4416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s-ES" sz="2400" dirty="0">
                <a:solidFill>
                  <a:schemeClr val="bg2"/>
                </a:solidFill>
                <a:latin typeface="Calibri"/>
                <a:cs typeface="Calibri"/>
              </a:rPr>
              <a:t>WHAT WE HAVE IN MIND</a:t>
            </a:r>
            <a:r>
              <a:rPr lang="es-ES" sz="2400">
                <a:solidFill>
                  <a:schemeClr val="bg2"/>
                </a:solidFill>
                <a:latin typeface="Calibri"/>
                <a:cs typeface="Calibri"/>
              </a:rPr>
              <a:t>: THE SEMANTIC EXPERT VISION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3F35D5AD-8608-8A76-4CC6-840A1AB9B131}"/>
              </a:ext>
            </a:extLst>
          </p:cNvPr>
          <p:cNvSpPr/>
          <p:nvPr/>
        </p:nvSpPr>
        <p:spPr>
          <a:xfrm>
            <a:off x="1728687" y="2559538"/>
            <a:ext cx="2830285" cy="4772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err="1">
                <a:solidFill>
                  <a:schemeClr val="tx1"/>
                </a:solidFill>
                <a:cs typeface="Calibri"/>
              </a:rPr>
              <a:t>Semantic</a:t>
            </a:r>
            <a:r>
              <a:rPr lang="es-ES" b="1" dirty="0">
                <a:solidFill>
                  <a:schemeClr val="tx1"/>
                </a:solidFill>
                <a:cs typeface="Calibri"/>
              </a:rPr>
              <a:t> </a:t>
            </a:r>
            <a:r>
              <a:rPr lang="es-ES" b="1" err="1">
                <a:solidFill>
                  <a:schemeClr val="tx1"/>
                </a:solidFill>
                <a:cs typeface="Calibri"/>
              </a:rPr>
              <a:t>Reusability</a:t>
            </a:r>
            <a:endParaRPr lang="es-ES" b="1">
              <a:solidFill>
                <a:schemeClr val="tx1"/>
              </a:solidFill>
              <a:cs typeface="Calibri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940C7808-5688-773B-EF2D-9A39B5AD8BB5}"/>
              </a:ext>
            </a:extLst>
          </p:cNvPr>
          <p:cNvSpPr/>
          <p:nvPr/>
        </p:nvSpPr>
        <p:spPr>
          <a:xfrm>
            <a:off x="1728686" y="4512452"/>
            <a:ext cx="2830285" cy="4772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b="1" err="1">
                <a:solidFill>
                  <a:schemeClr val="tx1"/>
                </a:solidFill>
                <a:cs typeface="Calibri"/>
              </a:rPr>
              <a:t>Semantic</a:t>
            </a:r>
            <a:r>
              <a:rPr lang="es-ES" b="1" dirty="0">
                <a:solidFill>
                  <a:schemeClr val="tx1"/>
                </a:solidFill>
                <a:cs typeface="Calibri"/>
              </a:rPr>
              <a:t> </a:t>
            </a:r>
            <a:r>
              <a:rPr lang="es-ES" b="1" err="1">
                <a:solidFill>
                  <a:schemeClr val="tx1"/>
                </a:solidFill>
                <a:cs typeface="Calibri"/>
              </a:rPr>
              <a:t>Interoperability</a:t>
            </a:r>
            <a:endParaRPr lang="es-ES" b="1">
              <a:solidFill>
                <a:schemeClr val="tx1"/>
              </a:solidFill>
              <a:cs typeface="Calibri"/>
            </a:endParaRPr>
          </a:p>
        </p:txBody>
      </p:sp>
      <p:pic>
        <p:nvPicPr>
          <p:cNvPr id="14" name="Imagen 13" descr="Imagen que contiene computer, computadora, tabla, caja&#10;&#10;Descripción generada automáticamente">
            <a:extLst>
              <a:ext uri="{FF2B5EF4-FFF2-40B4-BE49-F238E27FC236}">
                <a16:creationId xmlns:a16="http://schemas.microsoft.com/office/drawing/2014/main" id="{962CD6DE-1ED5-13D8-26AD-9B97639B2FC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l="41896" r="-306" b="20734"/>
          <a:stretch/>
        </p:blipFill>
        <p:spPr>
          <a:xfrm flipH="1">
            <a:off x="2051352" y="2988486"/>
            <a:ext cx="1845136" cy="1409144"/>
          </a:xfrm>
          <a:prstGeom prst="rect">
            <a:avLst/>
          </a:prstGeom>
        </p:spPr>
      </p:pic>
      <p:pic>
        <p:nvPicPr>
          <p:cNvPr id="17" name="Imagen 16" descr="Forma&#10;&#10;Descripción generada automáticamente">
            <a:extLst>
              <a:ext uri="{FF2B5EF4-FFF2-40B4-BE49-F238E27FC236}">
                <a16:creationId xmlns:a16="http://schemas.microsoft.com/office/drawing/2014/main" id="{3E4CE2F8-48EE-AEE1-C5D5-065F1FE57C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7015983" y="2454682"/>
            <a:ext cx="2743200" cy="2743200"/>
          </a:xfrm>
          <a:prstGeom prst="rect">
            <a:avLst/>
          </a:prstGeom>
        </p:spPr>
      </p:pic>
      <p:pic>
        <p:nvPicPr>
          <p:cNvPr id="20" name="Imagen 19" descr="Diagrama&#10;&#10;Descripción generada automáticamente">
            <a:extLst>
              <a:ext uri="{FF2B5EF4-FFF2-40B4-BE49-F238E27FC236}">
                <a16:creationId xmlns:a16="http://schemas.microsoft.com/office/drawing/2014/main" id="{049C5225-551D-E6A8-1A79-DBFB470A95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7568643" y="1598434"/>
            <a:ext cx="2743200" cy="170914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87DED2A0-5A77-A396-1DA9-555C9DD6797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837473B0-CC2E-450A-ABE3-18F120FF3D39}">
                <a1611:picAttrSrcUrl xmlns:a1611="http://schemas.microsoft.com/office/drawing/2016/11/main" r:id="rId13"/>
              </a:ext>
            </a:extLst>
          </a:blip>
          <a:stretch>
            <a:fillRect/>
          </a:stretch>
        </p:blipFill>
        <p:spPr>
          <a:xfrm>
            <a:off x="3784695" y="1905068"/>
            <a:ext cx="2877177" cy="2819908"/>
          </a:xfrm>
          <a:prstGeom prst="rect">
            <a:avLst/>
          </a:prstGeom>
        </p:spPr>
      </p:pic>
      <p:pic>
        <p:nvPicPr>
          <p:cNvPr id="29" name="Imagen 28" descr="กราฟฟิกเวคเตอร์ฟรี: อังกฤษ, ปุ่ม, ธง - ภาพฟรีที่ Pixabay - 150397">
            <a:extLst>
              <a:ext uri="{FF2B5EF4-FFF2-40B4-BE49-F238E27FC236}">
                <a16:creationId xmlns:a16="http://schemas.microsoft.com/office/drawing/2014/main" id="{08ED72EE-576A-6501-45C0-DEE4D1C8712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270912" y="4634090"/>
            <a:ext cx="737251" cy="748538"/>
          </a:xfrm>
          <a:prstGeom prst="rect">
            <a:avLst/>
          </a:prstGeom>
        </p:spPr>
      </p:pic>
      <p:pic>
        <p:nvPicPr>
          <p:cNvPr id="2" name="Imagen 1" descr="Logotipo&#10;&#10;Descripción generada automáticamente">
            <a:extLst>
              <a:ext uri="{FF2B5EF4-FFF2-40B4-BE49-F238E27FC236}">
                <a16:creationId xmlns:a16="http://schemas.microsoft.com/office/drawing/2014/main" id="{AAE0377A-7F86-94E1-9F28-D1C392A1D0C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837473B0-CC2E-450A-ABE3-18F120FF3D39}">
                <a1611:picAttrSrcUrl xmlns:a1611="http://schemas.microsoft.com/office/drawing/2016/11/main" r:id="rId16"/>
              </a:ext>
            </a:extLst>
          </a:blip>
          <a:stretch>
            <a:fillRect/>
          </a:stretch>
        </p:blipFill>
        <p:spPr>
          <a:xfrm>
            <a:off x="8970759" y="4550059"/>
            <a:ext cx="782842" cy="831930"/>
          </a:xfrm>
          <a:prstGeom prst="rect">
            <a:avLst/>
          </a:prstGeom>
        </p:spPr>
      </p:pic>
      <p:pic>
        <p:nvPicPr>
          <p:cNvPr id="13" name="Imagen 12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76156885-0F7D-C4A2-F79D-0767028693E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465733" y="3986679"/>
            <a:ext cx="633047" cy="688694"/>
          </a:xfrm>
          <a:prstGeom prst="rect">
            <a:avLst/>
          </a:prstGeom>
        </p:spPr>
      </p:pic>
      <p:pic>
        <p:nvPicPr>
          <p:cNvPr id="19" name="Imagen 18" descr="Imagen que contiene Forma&#10;&#10;Descripción generada automáticamente">
            <a:extLst>
              <a:ext uri="{FF2B5EF4-FFF2-40B4-BE49-F238E27FC236}">
                <a16:creationId xmlns:a16="http://schemas.microsoft.com/office/drawing/2014/main" id="{432014C3-842C-B326-5D8E-18B516902D7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792757" y="4578145"/>
            <a:ext cx="493510" cy="78878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7" name="Imagen 6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6CD7933F-39C4-7DF7-83A6-3946F6137EEA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837473B0-CC2E-450A-ABE3-18F120FF3D39}">
                <a1611:picAttrSrcUrl xmlns:a1611="http://schemas.microsoft.com/office/drawing/2016/11/main" r:id="rId20"/>
              </a:ext>
            </a:extLst>
          </a:blip>
          <a:srcRect t="33422" r="267" b="33632"/>
          <a:stretch/>
        </p:blipFill>
        <p:spPr>
          <a:xfrm>
            <a:off x="9715826" y="3590518"/>
            <a:ext cx="1194464" cy="393046"/>
          </a:xfrm>
          <a:prstGeom prst="rect">
            <a:avLst/>
          </a:prstGeom>
        </p:spPr>
      </p:pic>
      <p:sp>
        <p:nvSpPr>
          <p:cNvPr id="22" name="Marcador de número de diapositiva 3">
            <a:extLst>
              <a:ext uri="{FF2B5EF4-FFF2-40B4-BE49-F238E27FC236}">
                <a16:creationId xmlns:a16="http://schemas.microsoft.com/office/drawing/2014/main" id="{6EF37ED3-CCDE-8609-DA31-D726C161C9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95409" y="6330332"/>
            <a:ext cx="2844800" cy="365125"/>
          </a:xfrm>
        </p:spPr>
        <p:txBody>
          <a:bodyPr/>
          <a:lstStyle/>
          <a:p>
            <a:fld id="{B3D41CAF-7772-4D25-BA8B-258115B403BB}" type="slidenum">
              <a:rPr lang="es-ES" altLang="es-ES" smtClean="0"/>
              <a:pPr/>
              <a:t>2</a:t>
            </a:fld>
            <a:endParaRPr lang="es-ES" altLang="es-E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EEE05A-5E30-573D-13D5-4FDE201C74C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050858" y="6327267"/>
            <a:ext cx="1365885" cy="3726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3B008F7-AB44-A66B-C3F7-DBDE891FCE4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492752" y="6421755"/>
            <a:ext cx="731520" cy="29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408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Marcador de contenido 11">
            <a:extLst>
              <a:ext uri="{FF2B5EF4-FFF2-40B4-BE49-F238E27FC236}">
                <a16:creationId xmlns:a16="http://schemas.microsoft.com/office/drawing/2014/main" id="{9DA43D69-8805-E8A9-9A4B-A3DD20BAE98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9302457"/>
              </p:ext>
            </p:extLst>
          </p:nvPr>
        </p:nvGraphicFramePr>
        <p:xfrm>
          <a:off x="1806662" y="1010889"/>
          <a:ext cx="8898025" cy="35278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4E40736D-0AAF-8D28-A789-A17EB57D1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s-ES" sz="2400" dirty="0">
                <a:solidFill>
                  <a:schemeClr val="bg2"/>
                </a:solidFill>
                <a:latin typeface="Calibri"/>
                <a:cs typeface="Calibri"/>
              </a:rPr>
              <a:t>WHAT IS THE SEMANTIC WORK ABOUT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9CC4F13-1302-75BA-157F-0A9225FC4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3D41CAF-7772-4D25-BA8B-258115B403BB}" type="slidenum">
              <a:rPr lang="es-ES" altLang="es-ES" smtClean="0"/>
              <a:pPr/>
              <a:t>3</a:t>
            </a:fld>
            <a:endParaRPr lang="es-ES" altLang="es-ES"/>
          </a:p>
        </p:txBody>
      </p:sp>
      <p:pic>
        <p:nvPicPr>
          <p:cNvPr id="1332" name="Imagen 1331" descr="Imagem vetorial gratis: Homem, Guy, Silhueta, Masculino - Imagem gratis ...">
            <a:extLst>
              <a:ext uri="{FF2B5EF4-FFF2-40B4-BE49-F238E27FC236}">
                <a16:creationId xmlns:a16="http://schemas.microsoft.com/office/drawing/2014/main" id="{4623EF80-9023-BFDF-F3EA-D732926270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20948" y="3774830"/>
            <a:ext cx="650632" cy="1318010"/>
          </a:xfrm>
          <a:prstGeom prst="rect">
            <a:avLst/>
          </a:prstGeom>
        </p:spPr>
      </p:pic>
      <p:pic>
        <p:nvPicPr>
          <p:cNvPr id="1333" name="Imagen 1332" descr="Imagem vetorial gratis: Homem, Silhueta, Pessoa, Humano - Imagem gratis ...">
            <a:extLst>
              <a:ext uri="{FF2B5EF4-FFF2-40B4-BE49-F238E27FC236}">
                <a16:creationId xmlns:a16="http://schemas.microsoft.com/office/drawing/2014/main" id="{CB36E24C-60C8-DB44-4769-42841A9128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4641" y="3716216"/>
            <a:ext cx="650632" cy="1318010"/>
          </a:xfrm>
          <a:prstGeom prst="rect">
            <a:avLst/>
          </a:prstGeom>
        </p:spPr>
      </p:pic>
      <p:pic>
        <p:nvPicPr>
          <p:cNvPr id="1334" name="Imagen 1333" descr="Free vector graphic: Bricks, Wall, Red - Free Image on Pixabay - 161235">
            <a:extLst>
              <a:ext uri="{FF2B5EF4-FFF2-40B4-BE49-F238E27FC236}">
                <a16:creationId xmlns:a16="http://schemas.microsoft.com/office/drawing/2014/main" id="{6FCE5DCF-D3AD-22B0-65DE-E788B5BE2C5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58202" y="3871126"/>
            <a:ext cx="1194079" cy="1368251"/>
          </a:xfrm>
          <a:prstGeom prst="rect">
            <a:avLst/>
          </a:prstGeom>
        </p:spPr>
      </p:pic>
      <p:pic>
        <p:nvPicPr>
          <p:cNvPr id="1451" name="Imagen 1450" descr="Free vector graphic: Bricks, Wall, Red - Free Image on Pixabay - 161235">
            <a:extLst>
              <a:ext uri="{FF2B5EF4-FFF2-40B4-BE49-F238E27FC236}">
                <a16:creationId xmlns:a16="http://schemas.microsoft.com/office/drawing/2014/main" id="{4D29CEEC-9622-40F7-C8EA-F48303D79B7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9932794" y="3871126"/>
            <a:ext cx="1152211" cy="1318010"/>
          </a:xfrm>
          <a:prstGeom prst="rect">
            <a:avLst/>
          </a:prstGeom>
        </p:spPr>
      </p:pic>
      <p:sp>
        <p:nvSpPr>
          <p:cNvPr id="1452" name="Flecha: a la derecha con bandas 1451">
            <a:extLst>
              <a:ext uri="{FF2B5EF4-FFF2-40B4-BE49-F238E27FC236}">
                <a16:creationId xmlns:a16="http://schemas.microsoft.com/office/drawing/2014/main" id="{D49212BE-3CA0-66E9-A34A-C4AE40F61D8C}"/>
              </a:ext>
            </a:extLst>
          </p:cNvPr>
          <p:cNvSpPr/>
          <p:nvPr/>
        </p:nvSpPr>
        <p:spPr>
          <a:xfrm>
            <a:off x="7992627" y="4421273"/>
            <a:ext cx="1833822" cy="669890"/>
          </a:xfrm>
          <a:prstGeom prst="strip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53" name="Flecha: a la derecha con bandas 1452">
            <a:extLst>
              <a:ext uri="{FF2B5EF4-FFF2-40B4-BE49-F238E27FC236}">
                <a16:creationId xmlns:a16="http://schemas.microsoft.com/office/drawing/2014/main" id="{E6714085-388A-E72B-E7A7-4E6597A17CEF}"/>
              </a:ext>
            </a:extLst>
          </p:cNvPr>
          <p:cNvSpPr/>
          <p:nvPr/>
        </p:nvSpPr>
        <p:spPr>
          <a:xfrm flipH="1">
            <a:off x="2616757" y="4429646"/>
            <a:ext cx="1825449" cy="669890"/>
          </a:xfrm>
          <a:prstGeom prst="strip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02" name="CuadroTexto 1501">
            <a:extLst>
              <a:ext uri="{FF2B5EF4-FFF2-40B4-BE49-F238E27FC236}">
                <a16:creationId xmlns:a16="http://schemas.microsoft.com/office/drawing/2014/main" id="{89646D37-E779-EEF2-19BE-D9F9AB07A00D}"/>
              </a:ext>
            </a:extLst>
          </p:cNvPr>
          <p:cNvSpPr txBox="1"/>
          <p:nvPr/>
        </p:nvSpPr>
        <p:spPr>
          <a:xfrm>
            <a:off x="4341725" y="4588747"/>
            <a:ext cx="3706167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2000" b="1">
                <a:highlight>
                  <a:srgbClr val="FFFF00"/>
                </a:highlight>
                <a:latin typeface="Consolas"/>
                <a:cs typeface="Calibri"/>
              </a:rPr>
              <a:t>Socio</a:t>
            </a:r>
            <a:r>
              <a:rPr lang="en-GB" sz="2000" b="1">
                <a:latin typeface="Consolas"/>
                <a:cs typeface="Calibri"/>
              </a:rPr>
              <a:t>-techical problem</a:t>
            </a:r>
          </a:p>
          <a:p>
            <a:pPr algn="ctr"/>
            <a:endParaRPr lang="en-GB" sz="2000" b="1">
              <a:latin typeface="Consolas"/>
              <a:cs typeface="Calibri"/>
            </a:endParaRPr>
          </a:p>
          <a:p>
            <a:r>
              <a:rPr lang="en-GB" sz="2000" b="1">
                <a:latin typeface="Consolas"/>
                <a:cs typeface="Calibri"/>
              </a:rPr>
              <a:t>The missing piece</a:t>
            </a:r>
            <a:endParaRPr lang="en-GB" sz="2000">
              <a:latin typeface="Consolas"/>
              <a:cs typeface="Calibri"/>
            </a:endParaRPr>
          </a:p>
        </p:txBody>
      </p:sp>
      <p:sp>
        <p:nvSpPr>
          <p:cNvPr id="1551" name="Flecha: hacia arriba 1550">
            <a:extLst>
              <a:ext uri="{FF2B5EF4-FFF2-40B4-BE49-F238E27FC236}">
                <a16:creationId xmlns:a16="http://schemas.microsoft.com/office/drawing/2014/main" id="{0A2F92AB-E9D6-7C91-0DCD-17228235AF47}"/>
              </a:ext>
            </a:extLst>
          </p:cNvPr>
          <p:cNvSpPr/>
          <p:nvPr/>
        </p:nvSpPr>
        <p:spPr>
          <a:xfrm>
            <a:off x="4940439" y="5015801"/>
            <a:ext cx="217714" cy="200967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3908CDE8-C563-3C74-5153-048495A82A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50858" y="6327267"/>
            <a:ext cx="1365885" cy="372618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636CABAB-2D25-42DF-83F8-94358F05700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92752" y="6421755"/>
            <a:ext cx="731520" cy="29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109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7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4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5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5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5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52" grpId="0" animBg="1"/>
      <p:bldP spid="1453" grpId="0" animBg="1"/>
      <p:bldP spid="1502" grpId="0"/>
      <p:bldP spid="155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B9914A96-2133-E97B-3F8B-4AC1FC14F2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61289" y="1169894"/>
            <a:ext cx="5595702" cy="5158901"/>
          </a:xfrm>
        </p:spPr>
        <p:txBody>
          <a:bodyPr lIns="91440" tIns="45720" rIns="91440" bIns="45720" anchor="t"/>
          <a:lstStyle/>
          <a:p>
            <a:pPr marL="285750" indent="-285750">
              <a:buFont typeface="Arial,Sans-Serif" pitchFamily="34" charset="0"/>
              <a:buChar char="•"/>
            </a:pPr>
            <a:r>
              <a:rPr lang="en-GB" sz="1600" dirty="0">
                <a:cs typeface="Calibri"/>
              </a:rPr>
              <a:t>Diversity of:</a:t>
            </a:r>
          </a:p>
          <a:p>
            <a:pPr marL="574675" lvl="1" indent="-111125">
              <a:buChar char="•"/>
            </a:pPr>
            <a:r>
              <a:rPr lang="en-GB" sz="1600" dirty="0">
                <a:cs typeface="Calibri"/>
              </a:rPr>
              <a:t>Languages &amp; Concepts</a:t>
            </a:r>
          </a:p>
          <a:p>
            <a:pPr marL="574675" lvl="1" indent="-111125">
              <a:buChar char="•"/>
            </a:pPr>
            <a:r>
              <a:rPr lang="en-GB" sz="1600" dirty="0">
                <a:solidFill>
                  <a:srgbClr val="4E4E4E"/>
                </a:solidFill>
                <a:cs typeface="Calibri"/>
              </a:rPr>
              <a:t>Cultures &amp; Legal framework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1600" dirty="0">
                <a:cs typeface="Calibri"/>
              </a:rPr>
              <a:t>English as common language </a:t>
            </a:r>
          </a:p>
          <a:p>
            <a:pPr marL="574675" lvl="1" indent="-111125">
              <a:buFont typeface="Arial" pitchFamily="34" charset="0"/>
              <a:buChar char="•"/>
            </a:pPr>
            <a:r>
              <a:rPr lang="en-GB" sz="1600" dirty="0">
                <a:cs typeface="Calibri"/>
              </a:rPr>
              <a:t>Not native language (mostly) </a:t>
            </a:r>
          </a:p>
          <a:p>
            <a:pPr marL="574675" lvl="1" indent="-111125">
              <a:buChar char="•"/>
            </a:pPr>
            <a:r>
              <a:rPr lang="en-GB" sz="1600" dirty="0">
                <a:solidFill>
                  <a:srgbClr val="4E4E4E"/>
                </a:solidFill>
                <a:cs typeface="Calibri"/>
              </a:rPr>
              <a:t>Nuance issues</a:t>
            </a:r>
          </a:p>
          <a:p>
            <a:pPr marL="574675" lvl="1" indent="-111125">
              <a:buChar char="•"/>
            </a:pPr>
            <a:r>
              <a:rPr lang="en-GB" sz="1600" dirty="0">
                <a:solidFill>
                  <a:srgbClr val="4E4E4E"/>
                </a:solidFill>
                <a:cs typeface="Calibri"/>
              </a:rPr>
              <a:t>Accuracy issues</a:t>
            </a:r>
          </a:p>
          <a:p>
            <a:pPr marL="574675" lvl="1" indent="-111125">
              <a:buChar char="•"/>
            </a:pPr>
            <a:r>
              <a:rPr lang="en-GB" sz="1600" dirty="0">
                <a:solidFill>
                  <a:srgbClr val="4E4E4E"/>
                </a:solidFill>
                <a:cs typeface="Calibri"/>
              </a:rPr>
              <a:t>Bigger misunderstandings</a:t>
            </a:r>
          </a:p>
          <a:p>
            <a:pPr marL="285750" indent="-285750">
              <a:buChar char="•"/>
            </a:pPr>
            <a:r>
              <a:rPr lang="en-GB" sz="1600" dirty="0">
                <a:cs typeface="Calibri"/>
              </a:rPr>
              <a:t>Psych-sociological issues</a:t>
            </a:r>
          </a:p>
          <a:p>
            <a:pPr marL="574675" lvl="1" indent="-111125">
              <a:buChar char="•"/>
            </a:pPr>
            <a:r>
              <a:rPr lang="en-GB" sz="1600" dirty="0">
                <a:cs typeface="Calibri"/>
              </a:rPr>
              <a:t>Human biases</a:t>
            </a:r>
          </a:p>
          <a:p>
            <a:pPr marL="574675" lvl="1" indent="-111125">
              <a:buChar char="•"/>
            </a:pPr>
            <a:r>
              <a:rPr lang="en-GB" sz="1600" dirty="0">
                <a:cs typeface="Calibri"/>
              </a:rPr>
              <a:t>Elicitation issues</a:t>
            </a:r>
          </a:p>
          <a:p>
            <a:pPr marL="574675" lvl="1" indent="-111125">
              <a:buFont typeface="Arial,Sans-Serif" pitchFamily="34" charset="0"/>
              <a:buChar char="•"/>
            </a:pPr>
            <a:r>
              <a:rPr lang="en-GB" sz="1600" dirty="0">
                <a:cs typeface="Calibri"/>
              </a:rPr>
              <a:t>Onboarding and commitment issues</a:t>
            </a:r>
          </a:p>
          <a:p>
            <a:pPr marL="285750" indent="-285750">
              <a:buFont typeface="Arial,Sans-Serif" pitchFamily="34" charset="0"/>
              <a:buChar char="•"/>
            </a:pPr>
            <a:r>
              <a:rPr lang="en-GB" sz="1600" dirty="0">
                <a:cs typeface="Calibri"/>
              </a:rPr>
              <a:t>Little to no EU harmonisation of </a:t>
            </a:r>
            <a:br>
              <a:rPr lang="en-GB" sz="1600" dirty="0">
                <a:cs typeface="Calibri"/>
              </a:rPr>
            </a:br>
            <a:r>
              <a:rPr lang="en-GB" sz="1600" dirty="0">
                <a:cs typeface="Calibri"/>
              </a:rPr>
              <a:t>the knowledge domain</a:t>
            </a:r>
            <a:endParaRPr lang="en-US" sz="1600" dirty="0">
              <a:cs typeface="Calibri"/>
            </a:endParaRPr>
          </a:p>
          <a:p>
            <a:pPr marL="285750" indent="-285750">
              <a:buFont typeface="Arial,Sans-Serif" pitchFamily="34" charset="0"/>
              <a:buChar char="•"/>
            </a:pPr>
            <a:r>
              <a:rPr lang="en-GB" sz="1600" dirty="0">
                <a:cs typeface="Calibri"/>
              </a:rPr>
              <a:t>Experts on the national context</a:t>
            </a:r>
            <a:endParaRPr lang="en-GB" dirty="0"/>
          </a:p>
          <a:p>
            <a:pPr marL="574675" lvl="1" indent="-111125">
              <a:buFont typeface="Arial,Sans-Serif" pitchFamily="34" charset="0"/>
              <a:buChar char="•"/>
            </a:pPr>
            <a:r>
              <a:rPr lang="en-GB" sz="1600" dirty="0">
                <a:solidFill>
                  <a:srgbClr val="4E4E4E"/>
                </a:solidFill>
                <a:cs typeface="Calibri"/>
              </a:rPr>
              <a:t>Laypeople in other contexts </a:t>
            </a:r>
          </a:p>
          <a:p>
            <a:pPr marL="574675" lvl="1" indent="-111125">
              <a:buFont typeface="Arial,Sans-Serif" pitchFamily="34" charset="0"/>
              <a:buChar char="•"/>
            </a:pPr>
            <a:r>
              <a:rPr lang="en-GB" sz="1600" dirty="0">
                <a:solidFill>
                  <a:srgbClr val="4E4E4E"/>
                </a:solidFill>
                <a:cs typeface="Calibri"/>
              </a:rPr>
              <a:t>Laypeople in semantics</a:t>
            </a:r>
            <a:endParaRPr lang="en-GB" sz="1600" dirty="0">
              <a:cs typeface="Calibri"/>
            </a:endParaRPr>
          </a:p>
          <a:p>
            <a:pPr marL="285750" indent="-285750">
              <a:buFont typeface="Arial,Sans-Serif" pitchFamily="34" charset="0"/>
              <a:buChar char="•"/>
            </a:pPr>
            <a:endParaRPr lang="en-GB" sz="1800" dirty="0">
              <a:cs typeface="Calibri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71D1A03-5D99-E35A-7EEF-B8E863B5E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s-ES" sz="2400" dirty="0">
                <a:solidFill>
                  <a:schemeClr val="bg2"/>
                </a:solidFill>
                <a:latin typeface="Calibri"/>
                <a:cs typeface="Calibri"/>
              </a:rPr>
              <a:t>EXPERTS ON THE KNOWLEDGE DOMAIN OF PUBLIC SERVICES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48D1BC6-B1CF-DFF8-1E3A-744F115A4F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3D41CAF-7772-4D25-BA8B-258115B403BB}" type="slidenum">
              <a:rPr lang="es-ES" altLang="es-ES" smtClean="0"/>
              <a:pPr/>
              <a:t>4</a:t>
            </a:fld>
            <a:endParaRPr lang="es-ES" altLang="es-ES"/>
          </a:p>
        </p:txBody>
      </p:sp>
      <p:pic>
        <p:nvPicPr>
          <p:cNvPr id="6" name="Picture 2" descr="Map of the European Union in two years [4592 x 3196] : MapPorn">
            <a:extLst>
              <a:ext uri="{FF2B5EF4-FFF2-40B4-BE49-F238E27FC236}">
                <a16:creationId xmlns:a16="http://schemas.microsoft.com/office/drawing/2014/main" id="{54ED0AA5-0165-439F-4628-4BF7D7271E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utout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292"/>
          <a:stretch/>
        </p:blipFill>
        <p:spPr bwMode="auto">
          <a:xfrm>
            <a:off x="600152" y="1020953"/>
            <a:ext cx="5801612" cy="476680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7" descr="Imagem vetorial gratis: Homem, Silhueta, Pessoa, Humano - Imagem gratis ...">
            <a:extLst>
              <a:ext uri="{FF2B5EF4-FFF2-40B4-BE49-F238E27FC236}">
                <a16:creationId xmlns:a16="http://schemas.microsoft.com/office/drawing/2014/main" id="{78501F3D-87AB-5228-944A-05259FFECC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2708" y="1899139"/>
            <a:ext cx="1496368" cy="30094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423F95E-EA39-1E68-52CD-FE4F3D2C8D05}"/>
              </a:ext>
            </a:extLst>
          </p:cNvPr>
          <p:cNvSpPr txBox="1"/>
          <p:nvPr/>
        </p:nvSpPr>
        <p:spPr>
          <a:xfrm flipH="1">
            <a:off x="9549151" y="5449574"/>
            <a:ext cx="1259364" cy="584775"/>
          </a:xfrm>
          <a:prstGeom prst="rect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1600" dirty="0"/>
              <a:t>Existing knowledge</a:t>
            </a:r>
            <a:endParaRPr lang="en-GB" sz="1600" dirty="0">
              <a:ea typeface="Calibri"/>
              <a:cs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4669C0-6925-B530-9C88-F929DF7DA027}"/>
              </a:ext>
            </a:extLst>
          </p:cNvPr>
          <p:cNvSpPr txBox="1"/>
          <p:nvPr/>
        </p:nvSpPr>
        <p:spPr>
          <a:xfrm flipH="1">
            <a:off x="9549151" y="4758730"/>
            <a:ext cx="1259364" cy="584775"/>
          </a:xfrm>
          <a:prstGeom prst="rect">
            <a:avLst/>
          </a:prstGeom>
          <a:solidFill>
            <a:srgbClr val="FEE5D2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1600" dirty="0"/>
              <a:t>New knowledge</a:t>
            </a:r>
            <a:endParaRPr lang="en-GB" sz="1600" dirty="0">
              <a:ea typeface="Calibri"/>
              <a:cs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B60DCA-2597-62FE-76F5-3A1F11E33C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50858" y="6327267"/>
            <a:ext cx="1365885" cy="3726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CDB33B-AE5E-7032-859C-E829B4A1B8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92752" y="6421755"/>
            <a:ext cx="731520" cy="29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9298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Marcador de contenido 1">
            <a:extLst>
              <a:ext uri="{FF2B5EF4-FFF2-40B4-BE49-F238E27FC236}">
                <a16:creationId xmlns:a16="http://schemas.microsoft.com/office/drawing/2014/main" id="{5217AFFF-C1ED-2D27-5A81-8D9A0D305C3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49244693"/>
              </p:ext>
            </p:extLst>
          </p:nvPr>
        </p:nvGraphicFramePr>
        <p:xfrm>
          <a:off x="433388" y="1169988"/>
          <a:ext cx="11334750" cy="5135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A8B18FCE-A6BF-4F25-30BE-4D2E930F6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>
            <a:normAutofit/>
          </a:bodyPr>
          <a:lstStyle/>
          <a:p>
            <a:pPr>
              <a:lnSpc>
                <a:spcPct val="90000"/>
              </a:lnSpc>
            </a:pPr>
            <a:r>
              <a:rPr lang="es-ES"/>
              <a:t>FROM KNOWLEDGE TO FORMAL SPECIFICATION</a:t>
            </a:r>
          </a:p>
        </p:txBody>
      </p:sp>
      <p:sp>
        <p:nvSpPr>
          <p:cNvPr id="4" name="Marcador de número de diapositiva 3" hidden="1">
            <a:extLst>
              <a:ext uri="{FF2B5EF4-FFF2-40B4-BE49-F238E27FC236}">
                <a16:creationId xmlns:a16="http://schemas.microsoft.com/office/drawing/2014/main" id="{B9B5FEB3-47AC-337A-9B18-2864B74CD7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B3D41CAF-7772-4D25-BA8B-258115B403BB}" type="slidenum">
              <a:rPr lang="es-ES" altLang="es-ES" smtClean="0"/>
              <a:pPr>
                <a:spcAft>
                  <a:spcPts val="600"/>
                </a:spcAft>
              </a:pPr>
              <a:t>5</a:t>
            </a:fld>
            <a:endParaRPr lang="es-ES" altLang="es-ES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90806BE5-1DCA-F96C-CD70-D93ABCEDA4A0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35458" y="975170"/>
            <a:ext cx="11334750" cy="738187"/>
          </a:xfrm>
          <a:prstGeom prst="rect">
            <a:avLst/>
          </a:prstGeom>
        </p:spPr>
        <p:txBody>
          <a:bodyPr lIns="91440" tIns="45720" rIns="91440" bIns="45720" anchor="t">
            <a:normAutofit fontScale="92500" lnSpcReduction="20000"/>
          </a:bodyPr>
          <a:lstStyle/>
          <a:p>
            <a:pPr marL="0" indent="0" algn="ctr">
              <a:buNone/>
            </a:pPr>
            <a:r>
              <a:rPr lang="es-ES" sz="2800" b="1" dirty="0">
                <a:solidFill>
                  <a:srgbClr val="E93F7F"/>
                </a:solidFill>
                <a:latin typeface="ADLaM Display"/>
                <a:ea typeface="ADLaM Display"/>
                <a:cs typeface="ADLaM Display"/>
              </a:rPr>
              <a:t>EU-WIDE ELICITATION FRAMEWORK </a:t>
            </a:r>
            <a:br>
              <a:rPr lang="es-ES" sz="2800" b="1" dirty="0">
                <a:solidFill>
                  <a:srgbClr val="E93F7F"/>
                </a:solidFill>
                <a:latin typeface="ADLaM Display"/>
                <a:ea typeface="ADLaM Display"/>
                <a:cs typeface="ADLaM Display"/>
              </a:rPr>
            </a:br>
            <a:r>
              <a:rPr lang="es-ES" sz="2800" b="1" dirty="0">
                <a:solidFill>
                  <a:srgbClr val="E93F7F"/>
                </a:solidFill>
                <a:latin typeface="ADLaM Display"/>
                <a:ea typeface="ADLaM Display"/>
                <a:cs typeface="ADLaM Display"/>
              </a:rPr>
              <a:t>FOR THE PUBLIC SERVICE KNOWLEDGE DOMAIN</a:t>
            </a:r>
            <a:endParaRPr lang="es-ES" sz="2800" dirty="0">
              <a:solidFill>
                <a:srgbClr val="E93F7F"/>
              </a:solidFill>
              <a:latin typeface="ADLaM Display"/>
              <a:ea typeface="ADLaM Display"/>
              <a:cs typeface="ADLaM Display"/>
            </a:endParaRPr>
          </a:p>
          <a:p>
            <a:pPr>
              <a:spcBef>
                <a:spcPts val="0"/>
              </a:spcBef>
            </a:pPr>
            <a:endParaRPr lang="es-ES" sz="1450" b="1" dirty="0">
              <a:cs typeface="Calibri"/>
            </a:endParaRPr>
          </a:p>
          <a:p>
            <a:endParaRPr lang="en-US" b="1" dirty="0"/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6D4216AC-4C63-F217-3B9B-2FE02404A5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50858" y="6327267"/>
            <a:ext cx="1365885" cy="372618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CA6DDFDB-A59F-D2C9-16DF-74510C4187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2752" y="6421755"/>
            <a:ext cx="731520" cy="29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716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875EE1F6-82ED-4CE4-AAC2-A83A63670EB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359E1130-A620-4EDD-9A31-D78E2AFF26A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E044F046-EFB0-4EFB-BF97-C41940FD3BA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FFEF2697-D71D-4F43-8D1F-0968E613DBB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A12B18EC-7CCA-497A-8291-8ADF6784757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C72A4A45-ED46-45C9-B744-AFEB0BF3D02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Sub>
          <a:bldDgm bld="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B9914A96-2133-E97B-3F8B-4AC1FC14F2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61289" y="1169894"/>
            <a:ext cx="5406726" cy="5152805"/>
          </a:xfrm>
        </p:spPr>
        <p:txBody>
          <a:bodyPr lIns="91440" tIns="45720" rIns="91440" bIns="45720" anchor="t"/>
          <a:lstStyle/>
          <a:p>
            <a:endParaRPr lang="en-GB" sz="1800" dirty="0">
              <a:cs typeface="Calibri"/>
            </a:endParaRPr>
          </a:p>
          <a:p>
            <a:pPr marL="285750" indent="-285750">
              <a:buChar char="•"/>
            </a:pPr>
            <a:r>
              <a:rPr lang="en-GB" sz="1800" dirty="0">
                <a:cs typeface="Calibri"/>
              </a:rPr>
              <a:t>Huge amount of assets</a:t>
            </a:r>
          </a:p>
          <a:p>
            <a:pPr marL="285750" indent="-285750">
              <a:buChar char="•"/>
            </a:pPr>
            <a:r>
              <a:rPr lang="en-GB" sz="1800" dirty="0">
                <a:cs typeface="Calibri"/>
              </a:rPr>
              <a:t>Asset scattering</a:t>
            </a:r>
            <a:endParaRPr lang="en-GB" sz="1800" dirty="0"/>
          </a:p>
          <a:p>
            <a:pPr marL="285750" indent="-285750">
              <a:buFont typeface="Arial" pitchFamily="34" charset="0"/>
              <a:buChar char="•"/>
            </a:pPr>
            <a:r>
              <a:rPr lang="en-GB" sz="1800" dirty="0">
                <a:cs typeface="Calibri"/>
              </a:rPr>
              <a:t>Overlapping of concep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1800" dirty="0">
                <a:cs typeface="Calibri"/>
              </a:rPr>
              <a:t>Context/country-dependent meaning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1800" dirty="0">
                <a:cs typeface="Calibri"/>
              </a:rPr>
              <a:t>Labels and descriptions in different languages</a:t>
            </a:r>
          </a:p>
          <a:p>
            <a:pPr marL="285750" indent="-285750">
              <a:buChar char="•"/>
            </a:pPr>
            <a:r>
              <a:rPr lang="en-GB" sz="1800" dirty="0">
                <a:cs typeface="Calibri"/>
              </a:rPr>
              <a:t>Lack of accuracy on meaning description</a:t>
            </a:r>
          </a:p>
          <a:p>
            <a:pPr marL="285750" indent="-285750">
              <a:buChar char="•"/>
            </a:pPr>
            <a:r>
              <a:rPr lang="en-GB" sz="1800" dirty="0">
                <a:cs typeface="Calibri"/>
              </a:rPr>
              <a:t>Lack of metadata at every level of an asse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1800" dirty="0">
                <a:cs typeface="Calibri"/>
              </a:rPr>
              <a:t>Findability of proper semantic assets</a:t>
            </a:r>
          </a:p>
          <a:p>
            <a:pPr marL="285750" indent="-285750">
              <a:buChar char="•"/>
            </a:pPr>
            <a:r>
              <a:rPr lang="en-GB" sz="1800" dirty="0">
                <a:cs typeface="Calibri"/>
              </a:rPr>
              <a:t>Semantics as barrier for domain exper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1800" dirty="0">
                <a:cs typeface="Calibri"/>
              </a:rPr>
              <a:t>Semantics as barrier for IT developers</a:t>
            </a:r>
          </a:p>
          <a:p>
            <a:pPr marL="285750" indent="-285750">
              <a:buChar char="•"/>
            </a:pPr>
            <a:endParaRPr lang="en-GB" sz="1800" dirty="0">
              <a:cs typeface="Calibri"/>
            </a:endParaRPr>
          </a:p>
          <a:p>
            <a:pPr marL="285750" indent="-285750">
              <a:buFont typeface="Arial,Sans-Serif" pitchFamily="34" charset="0"/>
              <a:buChar char="•"/>
            </a:pPr>
            <a:endParaRPr lang="en-GB" sz="1800" dirty="0">
              <a:cs typeface="Calibri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GB" sz="1800" dirty="0">
              <a:cs typeface="Calibri"/>
            </a:endParaRPr>
          </a:p>
          <a:p>
            <a:pPr marL="285750" indent="-285750">
              <a:buChar char="•"/>
            </a:pPr>
            <a:endParaRPr lang="en-GB" sz="1800" dirty="0">
              <a:cs typeface="Calibri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71D1A03-5D99-E35A-7EEF-B8E863B5E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s-ES" sz="2400" dirty="0">
                <a:solidFill>
                  <a:schemeClr val="bg2"/>
                </a:solidFill>
                <a:latin typeface="Calibri"/>
                <a:cs typeface="Calibri"/>
              </a:rPr>
              <a:t>OBSTACLES IN DISCOVERY OF REUSABLE SEMANTIC ASSETS 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48D1BC6-B1CF-DFF8-1E3A-744F115A4F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3D41CAF-7772-4D25-BA8B-258115B403BB}" type="slidenum">
              <a:rPr lang="es-ES" altLang="es-ES" smtClean="0"/>
              <a:pPr/>
              <a:t>6</a:t>
            </a:fld>
            <a:endParaRPr lang="es-ES" altLang="es-ES"/>
          </a:p>
        </p:txBody>
      </p:sp>
      <p:pic>
        <p:nvPicPr>
          <p:cNvPr id="6" name="Picture 2" descr="Map of the European Union in two years [4592 x 3196] : MapPorn">
            <a:extLst>
              <a:ext uri="{FF2B5EF4-FFF2-40B4-BE49-F238E27FC236}">
                <a16:creationId xmlns:a16="http://schemas.microsoft.com/office/drawing/2014/main" id="{54ED0AA5-0165-439F-4628-4BF7D7271E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utout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292"/>
          <a:stretch/>
        </p:blipFill>
        <p:spPr bwMode="auto">
          <a:xfrm>
            <a:off x="600152" y="1020953"/>
            <a:ext cx="5801612" cy="476680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n 6" descr="Imagem vetorial gratis: Homem, Guy, Silhueta, Masculino - Imagem gratis ...">
            <a:extLst>
              <a:ext uri="{FF2B5EF4-FFF2-40B4-BE49-F238E27FC236}">
                <a16:creationId xmlns:a16="http://schemas.microsoft.com/office/drawing/2014/main" id="{F1E2DA0D-DCBC-6E55-2C67-921F3432C8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7154" y="1716778"/>
            <a:ext cx="1666632" cy="3369548"/>
          </a:xfrm>
          <a:prstGeom prst="rect">
            <a:avLst/>
          </a:prstGeom>
        </p:spPr>
      </p:pic>
      <p:pic>
        <p:nvPicPr>
          <p:cNvPr id="10" name="Imagen 9" descr="Imagen que contiene computer, computadora, tabla, caja&#10;&#10;Descripción generada automáticamente">
            <a:extLst>
              <a:ext uri="{FF2B5EF4-FFF2-40B4-BE49-F238E27FC236}">
                <a16:creationId xmlns:a16="http://schemas.microsoft.com/office/drawing/2014/main" id="{82242598-A75A-CE2D-4A78-A113FC563FD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l="41896" r="-306" b="20734"/>
          <a:stretch/>
        </p:blipFill>
        <p:spPr>
          <a:xfrm>
            <a:off x="2259764" y="2936384"/>
            <a:ext cx="2379186" cy="18194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93963D-58C9-5AE1-7386-F937C17929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50858" y="6327267"/>
            <a:ext cx="1365885" cy="37261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0EF6774-5E5A-83A6-AE85-6DC4C0C761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92752" y="6421755"/>
            <a:ext cx="731520" cy="29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6776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9CB7BEA0-9DFD-5A85-35B1-6297F11BEC58}"/>
              </a:ext>
            </a:extLst>
          </p:cNvPr>
          <p:cNvSpPr/>
          <p:nvPr/>
        </p:nvSpPr>
        <p:spPr>
          <a:xfrm>
            <a:off x="3135086" y="3304134"/>
            <a:ext cx="5763025" cy="2321654"/>
          </a:xfrm>
          <a:prstGeom prst="roundRect">
            <a:avLst>
              <a:gd name="adj" fmla="val 0"/>
            </a:avLst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graphicFrame>
        <p:nvGraphicFramePr>
          <p:cNvPr id="6" name="Marcador de contenido 1">
            <a:extLst>
              <a:ext uri="{FF2B5EF4-FFF2-40B4-BE49-F238E27FC236}">
                <a16:creationId xmlns:a16="http://schemas.microsoft.com/office/drawing/2014/main" id="{BD917308-8B0B-E88E-F05F-FE8386337D4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12027857"/>
              </p:ext>
            </p:extLst>
          </p:nvPr>
        </p:nvGraphicFramePr>
        <p:xfrm>
          <a:off x="2077717" y="1346201"/>
          <a:ext cx="8036565" cy="1742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0450784-205F-3E61-91DB-EDC1351219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07500" y="6293091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3D41CAF-7772-4D25-BA8B-258115B403BB}" type="slidenum">
              <a:rPr lang="es-ES" altLang="es-ES" smtClean="0"/>
              <a:pPr>
                <a:spcAft>
                  <a:spcPts val="600"/>
                </a:spcAft>
              </a:pPr>
              <a:t>7</a:t>
            </a:fld>
            <a:endParaRPr lang="es-ES" altLang="es-E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83EC116-9F34-00B1-437A-731A8806F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699" y="443504"/>
            <a:ext cx="11846317" cy="902697"/>
          </a:xfrm>
        </p:spPr>
        <p:txBody>
          <a:bodyPr lIns="91440" tIns="45720" rIns="91440" bIns="45720">
            <a:normAutofit/>
          </a:bodyPr>
          <a:lstStyle/>
          <a:p>
            <a:r>
              <a:rPr lang="es-ES" sz="2600" b="1" dirty="0" err="1">
                <a:solidFill>
                  <a:srgbClr val="E93F7F"/>
                </a:solidFill>
                <a:latin typeface="ADLaM Display"/>
                <a:ea typeface="ADLaM Display"/>
                <a:cs typeface="ADLaM Display"/>
              </a:rPr>
              <a:t>ToDo</a:t>
            </a:r>
            <a:r>
              <a:rPr lang="es-ES" sz="2600" b="1" dirty="0">
                <a:solidFill>
                  <a:srgbClr val="E93F7F"/>
                </a:solidFill>
                <a:latin typeface="ADLaM Display"/>
                <a:ea typeface="ADLaM Display"/>
                <a:cs typeface="ADLaM Display"/>
              </a:rPr>
              <a:t> FOR DISCOVERY OF REUSABLE SEMANTIC ASSETS </a:t>
            </a:r>
          </a:p>
        </p:txBody>
      </p:sp>
      <p:grpSp>
        <p:nvGrpSpPr>
          <p:cNvPr id="5" name="Gráfico 428">
            <a:extLst>
              <a:ext uri="{FF2B5EF4-FFF2-40B4-BE49-F238E27FC236}">
                <a16:creationId xmlns:a16="http://schemas.microsoft.com/office/drawing/2014/main" id="{0D46E0EF-D4D6-9571-B337-B8FFD59E8AA0}"/>
              </a:ext>
            </a:extLst>
          </p:cNvPr>
          <p:cNvGrpSpPr/>
          <p:nvPr/>
        </p:nvGrpSpPr>
        <p:grpSpPr>
          <a:xfrm>
            <a:off x="3279366" y="1241937"/>
            <a:ext cx="527487" cy="491962"/>
            <a:chOff x="10583215" y="5434962"/>
            <a:chExt cx="1411020" cy="1315990"/>
          </a:xfrm>
          <a:solidFill>
            <a:schemeClr val="accent1"/>
          </a:solidFill>
        </p:grpSpPr>
        <p:sp>
          <p:nvSpPr>
            <p:cNvPr id="7" name="Forma libre: forma 185">
              <a:extLst>
                <a:ext uri="{FF2B5EF4-FFF2-40B4-BE49-F238E27FC236}">
                  <a16:creationId xmlns:a16="http://schemas.microsoft.com/office/drawing/2014/main" id="{5BAA593F-9D5B-5C3A-FA06-FEBB68567CD9}"/>
                </a:ext>
              </a:extLst>
            </p:cNvPr>
            <p:cNvSpPr/>
            <p:nvPr/>
          </p:nvSpPr>
          <p:spPr>
            <a:xfrm>
              <a:off x="10583215" y="5434962"/>
              <a:ext cx="1315990" cy="1315990"/>
            </a:xfrm>
            <a:custGeom>
              <a:avLst/>
              <a:gdLst>
                <a:gd name="connsiteX0" fmla="*/ 1315991 w 1315990"/>
                <a:gd name="connsiteY0" fmla="*/ 657996 h 1315990"/>
                <a:gd name="connsiteX1" fmla="*/ 1162418 w 1315990"/>
                <a:gd name="connsiteY1" fmla="*/ 1080620 h 1315990"/>
                <a:gd name="connsiteX2" fmla="*/ 1129739 w 1315990"/>
                <a:gd name="connsiteY2" fmla="*/ 1116708 h 1315990"/>
                <a:gd name="connsiteX3" fmla="*/ 1127534 w 1315990"/>
                <a:gd name="connsiteY3" fmla="*/ 1118913 h 1315990"/>
                <a:gd name="connsiteX4" fmla="*/ 1103475 w 1315990"/>
                <a:gd name="connsiteY4" fmla="*/ 1142170 h 1315990"/>
                <a:gd name="connsiteX5" fmla="*/ 1101872 w 1315990"/>
                <a:gd name="connsiteY5" fmla="*/ 1143573 h 1315990"/>
                <a:gd name="connsiteX6" fmla="*/ 1063178 w 1315990"/>
                <a:gd name="connsiteY6" fmla="*/ 1176252 h 1315990"/>
                <a:gd name="connsiteX7" fmla="*/ 657795 w 1315990"/>
                <a:gd name="connsiteY7" fmla="*/ 1315991 h 1315990"/>
                <a:gd name="connsiteX8" fmla="*/ 0 w 1315990"/>
                <a:gd name="connsiteY8" fmla="*/ 657996 h 1315990"/>
                <a:gd name="connsiteX9" fmla="*/ 657995 w 1315990"/>
                <a:gd name="connsiteY9" fmla="*/ 0 h 1315990"/>
                <a:gd name="connsiteX10" fmla="*/ 1315991 w 1315990"/>
                <a:gd name="connsiteY10" fmla="*/ 657996 h 1315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15990" h="1315990">
                  <a:moveTo>
                    <a:pt x="1315991" y="657996"/>
                  </a:moveTo>
                  <a:cubicBezTo>
                    <a:pt x="1315991" y="818986"/>
                    <a:pt x="1258251" y="966343"/>
                    <a:pt x="1162418" y="1080620"/>
                  </a:cubicBezTo>
                  <a:cubicBezTo>
                    <a:pt x="1151993" y="1093050"/>
                    <a:pt x="1141167" y="1105080"/>
                    <a:pt x="1129739" y="1116708"/>
                  </a:cubicBezTo>
                  <a:cubicBezTo>
                    <a:pt x="1128937" y="1117510"/>
                    <a:pt x="1128336" y="1118312"/>
                    <a:pt x="1127534" y="1118913"/>
                  </a:cubicBezTo>
                  <a:cubicBezTo>
                    <a:pt x="1119715" y="1126933"/>
                    <a:pt x="1111695" y="1134551"/>
                    <a:pt x="1103475" y="1142170"/>
                  </a:cubicBezTo>
                  <a:cubicBezTo>
                    <a:pt x="1102874" y="1142571"/>
                    <a:pt x="1102473" y="1143172"/>
                    <a:pt x="1101872" y="1143573"/>
                  </a:cubicBezTo>
                  <a:cubicBezTo>
                    <a:pt x="1089441" y="1155001"/>
                    <a:pt x="1076610" y="1165827"/>
                    <a:pt x="1063178" y="1176252"/>
                  </a:cubicBezTo>
                  <a:cubicBezTo>
                    <a:pt x="951507" y="1263865"/>
                    <a:pt x="810766" y="1315991"/>
                    <a:pt x="657795" y="1315991"/>
                  </a:cubicBezTo>
                  <a:cubicBezTo>
                    <a:pt x="294514" y="1315991"/>
                    <a:pt x="0" y="1021276"/>
                    <a:pt x="0" y="657996"/>
                  </a:cubicBezTo>
                  <a:cubicBezTo>
                    <a:pt x="0" y="294514"/>
                    <a:pt x="294514" y="0"/>
                    <a:pt x="657995" y="0"/>
                  </a:cubicBezTo>
                  <a:cubicBezTo>
                    <a:pt x="1021477" y="0"/>
                    <a:pt x="1315991" y="294514"/>
                    <a:pt x="1315991" y="657996"/>
                  </a:cubicBezTo>
                  <a:close/>
                </a:path>
              </a:pathLst>
            </a:custGeom>
            <a:solidFill>
              <a:schemeClr val="accent1"/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8" name="Forma libre: forma 186">
              <a:extLst>
                <a:ext uri="{FF2B5EF4-FFF2-40B4-BE49-F238E27FC236}">
                  <a16:creationId xmlns:a16="http://schemas.microsoft.com/office/drawing/2014/main" id="{C5E35CE3-AD7D-30FC-1F80-34BE0B976C8F}"/>
                </a:ext>
              </a:extLst>
            </p:cNvPr>
            <p:cNvSpPr/>
            <p:nvPr/>
          </p:nvSpPr>
          <p:spPr>
            <a:xfrm>
              <a:off x="10749217" y="5600964"/>
              <a:ext cx="983985" cy="983985"/>
            </a:xfrm>
            <a:custGeom>
              <a:avLst/>
              <a:gdLst>
                <a:gd name="connsiteX0" fmla="*/ 983986 w 983985"/>
                <a:gd name="connsiteY0" fmla="*/ 491993 h 983985"/>
                <a:gd name="connsiteX1" fmla="*/ 491993 w 983985"/>
                <a:gd name="connsiteY1" fmla="*/ 983986 h 983985"/>
                <a:gd name="connsiteX2" fmla="*/ 0 w 983985"/>
                <a:gd name="connsiteY2" fmla="*/ 491993 h 983985"/>
                <a:gd name="connsiteX3" fmla="*/ 491993 w 983985"/>
                <a:gd name="connsiteY3" fmla="*/ 0 h 983985"/>
                <a:gd name="connsiteX4" fmla="*/ 983986 w 983985"/>
                <a:gd name="connsiteY4" fmla="*/ 491993 h 9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3985" h="983985">
                  <a:moveTo>
                    <a:pt x="983986" y="491993"/>
                  </a:moveTo>
                  <a:cubicBezTo>
                    <a:pt x="983986" y="763652"/>
                    <a:pt x="763652" y="983986"/>
                    <a:pt x="491993" y="983986"/>
                  </a:cubicBezTo>
                  <a:cubicBezTo>
                    <a:pt x="220334" y="983986"/>
                    <a:pt x="0" y="763652"/>
                    <a:pt x="0" y="491993"/>
                  </a:cubicBezTo>
                  <a:cubicBezTo>
                    <a:pt x="0" y="220334"/>
                    <a:pt x="220334" y="0"/>
                    <a:pt x="491993" y="0"/>
                  </a:cubicBezTo>
                  <a:cubicBezTo>
                    <a:pt x="763652" y="0"/>
                    <a:pt x="983986" y="220334"/>
                    <a:pt x="983986" y="491993"/>
                  </a:cubicBezTo>
                  <a:close/>
                </a:path>
              </a:pathLst>
            </a:custGeom>
            <a:solidFill>
              <a:srgbClr val="FFFFFF"/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9" name="Forma libre: forma 187">
              <a:extLst>
                <a:ext uri="{FF2B5EF4-FFF2-40B4-BE49-F238E27FC236}">
                  <a16:creationId xmlns:a16="http://schemas.microsoft.com/office/drawing/2014/main" id="{17C5C55A-FB26-1D33-574B-6A840DA3932E}"/>
                </a:ext>
              </a:extLst>
            </p:cNvPr>
            <p:cNvSpPr/>
            <p:nvPr/>
          </p:nvSpPr>
          <p:spPr>
            <a:xfrm>
              <a:off x="10877328" y="5729075"/>
              <a:ext cx="727764" cy="727764"/>
            </a:xfrm>
            <a:custGeom>
              <a:avLst/>
              <a:gdLst>
                <a:gd name="connsiteX0" fmla="*/ 727765 w 727764"/>
                <a:gd name="connsiteY0" fmla="*/ 363882 h 727764"/>
                <a:gd name="connsiteX1" fmla="*/ 363882 w 727764"/>
                <a:gd name="connsiteY1" fmla="*/ 727765 h 727764"/>
                <a:gd name="connsiteX2" fmla="*/ 0 w 727764"/>
                <a:gd name="connsiteY2" fmla="*/ 363882 h 727764"/>
                <a:gd name="connsiteX3" fmla="*/ 363882 w 727764"/>
                <a:gd name="connsiteY3" fmla="*/ 0 h 727764"/>
                <a:gd name="connsiteX4" fmla="*/ 727765 w 727764"/>
                <a:gd name="connsiteY4" fmla="*/ 363882 h 727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7764" h="727764">
                  <a:moveTo>
                    <a:pt x="727765" y="363882"/>
                  </a:moveTo>
                  <a:cubicBezTo>
                    <a:pt x="727765" y="564769"/>
                    <a:pt x="564970" y="727765"/>
                    <a:pt x="363882" y="727765"/>
                  </a:cubicBezTo>
                  <a:cubicBezTo>
                    <a:pt x="162995" y="727765"/>
                    <a:pt x="0" y="564970"/>
                    <a:pt x="0" y="363882"/>
                  </a:cubicBezTo>
                  <a:cubicBezTo>
                    <a:pt x="0" y="162795"/>
                    <a:pt x="162995" y="0"/>
                    <a:pt x="363882" y="0"/>
                  </a:cubicBezTo>
                  <a:cubicBezTo>
                    <a:pt x="564769" y="0"/>
                    <a:pt x="727765" y="162995"/>
                    <a:pt x="727765" y="363882"/>
                  </a:cubicBezTo>
                  <a:close/>
                </a:path>
              </a:pathLst>
            </a:custGeom>
            <a:solidFill>
              <a:schemeClr val="bg2"/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0" name="Forma libre: forma 188">
              <a:extLst>
                <a:ext uri="{FF2B5EF4-FFF2-40B4-BE49-F238E27FC236}">
                  <a16:creationId xmlns:a16="http://schemas.microsoft.com/office/drawing/2014/main" id="{5CACEAAA-0356-DE39-3E99-A13F572173C9}"/>
                </a:ext>
              </a:extLst>
            </p:cNvPr>
            <p:cNvSpPr/>
            <p:nvPr/>
          </p:nvSpPr>
          <p:spPr>
            <a:xfrm>
              <a:off x="11023682" y="5875430"/>
              <a:ext cx="435054" cy="435054"/>
            </a:xfrm>
            <a:custGeom>
              <a:avLst/>
              <a:gdLst>
                <a:gd name="connsiteX0" fmla="*/ 435055 w 435054"/>
                <a:gd name="connsiteY0" fmla="*/ 217527 h 435054"/>
                <a:gd name="connsiteX1" fmla="*/ 217527 w 435054"/>
                <a:gd name="connsiteY1" fmla="*/ 435055 h 435054"/>
                <a:gd name="connsiteX2" fmla="*/ 0 w 435054"/>
                <a:gd name="connsiteY2" fmla="*/ 217527 h 435054"/>
                <a:gd name="connsiteX3" fmla="*/ 217527 w 435054"/>
                <a:gd name="connsiteY3" fmla="*/ 0 h 435054"/>
                <a:gd name="connsiteX4" fmla="*/ 435055 w 435054"/>
                <a:gd name="connsiteY4" fmla="*/ 217527 h 435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054" h="435054">
                  <a:moveTo>
                    <a:pt x="435055" y="217527"/>
                  </a:moveTo>
                  <a:cubicBezTo>
                    <a:pt x="435055" y="337619"/>
                    <a:pt x="337619" y="435055"/>
                    <a:pt x="217527" y="435055"/>
                  </a:cubicBezTo>
                  <a:cubicBezTo>
                    <a:pt x="97436" y="435055"/>
                    <a:pt x="0" y="337619"/>
                    <a:pt x="0" y="217527"/>
                  </a:cubicBezTo>
                  <a:cubicBezTo>
                    <a:pt x="0" y="97436"/>
                    <a:pt x="97436" y="0"/>
                    <a:pt x="217527" y="0"/>
                  </a:cubicBezTo>
                  <a:cubicBezTo>
                    <a:pt x="337619" y="0"/>
                    <a:pt x="435055" y="97236"/>
                    <a:pt x="435055" y="217527"/>
                  </a:cubicBezTo>
                  <a:close/>
                </a:path>
              </a:pathLst>
            </a:custGeom>
            <a:solidFill>
              <a:srgbClr val="FFFDFD"/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1" name="Forma libre: forma 189">
              <a:extLst>
                <a:ext uri="{FF2B5EF4-FFF2-40B4-BE49-F238E27FC236}">
                  <a16:creationId xmlns:a16="http://schemas.microsoft.com/office/drawing/2014/main" id="{882FB233-2DB1-2015-EDC4-CB0444ECF026}"/>
                </a:ext>
              </a:extLst>
            </p:cNvPr>
            <p:cNvSpPr/>
            <p:nvPr/>
          </p:nvSpPr>
          <p:spPr>
            <a:xfrm>
              <a:off x="11133754" y="5985496"/>
              <a:ext cx="214921" cy="214921"/>
            </a:xfrm>
            <a:custGeom>
              <a:avLst/>
              <a:gdLst>
                <a:gd name="connsiteX0" fmla="*/ 214921 w 214921"/>
                <a:gd name="connsiteY0" fmla="*/ 107461 h 214921"/>
                <a:gd name="connsiteX1" fmla="*/ 107461 w 214921"/>
                <a:gd name="connsiteY1" fmla="*/ 214921 h 214921"/>
                <a:gd name="connsiteX2" fmla="*/ 0 w 214921"/>
                <a:gd name="connsiteY2" fmla="*/ 107461 h 214921"/>
                <a:gd name="connsiteX3" fmla="*/ 107461 w 214921"/>
                <a:gd name="connsiteY3" fmla="*/ 0 h 214921"/>
                <a:gd name="connsiteX4" fmla="*/ 214921 w 214921"/>
                <a:gd name="connsiteY4" fmla="*/ 107461 h 21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921" h="214921">
                  <a:moveTo>
                    <a:pt x="214921" y="107461"/>
                  </a:moveTo>
                  <a:cubicBezTo>
                    <a:pt x="214921" y="166804"/>
                    <a:pt x="166804" y="214921"/>
                    <a:pt x="107461" y="214921"/>
                  </a:cubicBezTo>
                  <a:cubicBezTo>
                    <a:pt x="48117" y="214921"/>
                    <a:pt x="0" y="166804"/>
                    <a:pt x="0" y="107461"/>
                  </a:cubicBezTo>
                  <a:cubicBezTo>
                    <a:pt x="0" y="48117"/>
                    <a:pt x="48117" y="0"/>
                    <a:pt x="107461" y="0"/>
                  </a:cubicBezTo>
                  <a:cubicBezTo>
                    <a:pt x="166804" y="0"/>
                    <a:pt x="214921" y="48117"/>
                    <a:pt x="214921" y="10746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2" name="Forma libre: forma 190">
              <a:extLst>
                <a:ext uri="{FF2B5EF4-FFF2-40B4-BE49-F238E27FC236}">
                  <a16:creationId xmlns:a16="http://schemas.microsoft.com/office/drawing/2014/main" id="{5AA9CCA2-24CB-E530-07FE-4AF49142AF72}"/>
                </a:ext>
              </a:extLst>
            </p:cNvPr>
            <p:cNvSpPr/>
            <p:nvPr/>
          </p:nvSpPr>
          <p:spPr>
            <a:xfrm>
              <a:off x="10583215" y="5434962"/>
              <a:ext cx="2004" cy="2004"/>
            </a:xfrm>
            <a:custGeom>
              <a:avLst/>
              <a:gdLst/>
              <a:ahLst/>
              <a:cxnLst/>
              <a:rect l="l" t="t" r="r" b="b"/>
              <a:pathLst>
                <a:path w="2004" h="2004"/>
              </a:pathLst>
            </a:custGeom>
            <a:noFill/>
            <a:ln w="200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3" name="Forma libre: forma 191">
              <a:extLst>
                <a:ext uri="{FF2B5EF4-FFF2-40B4-BE49-F238E27FC236}">
                  <a16:creationId xmlns:a16="http://schemas.microsoft.com/office/drawing/2014/main" id="{CE5DD044-181B-FC3E-475E-D4A68168117F}"/>
                </a:ext>
              </a:extLst>
            </p:cNvPr>
            <p:cNvSpPr/>
            <p:nvPr/>
          </p:nvSpPr>
          <p:spPr>
            <a:xfrm>
              <a:off x="11228579" y="6066944"/>
              <a:ext cx="516853" cy="544470"/>
            </a:xfrm>
            <a:custGeom>
              <a:avLst/>
              <a:gdLst>
                <a:gd name="connsiteX0" fmla="*/ 484374 w 516853"/>
                <a:gd name="connsiteY0" fmla="*/ 484725 h 544470"/>
                <a:gd name="connsiteX1" fmla="*/ 478360 w 516853"/>
                <a:gd name="connsiteY1" fmla="*/ 482921 h 544470"/>
                <a:gd name="connsiteX2" fmla="*/ 482169 w 516853"/>
                <a:gd name="connsiteY2" fmla="*/ 486931 h 544470"/>
                <a:gd name="connsiteX3" fmla="*/ 458111 w 516853"/>
                <a:gd name="connsiteY3" fmla="*/ 510187 h 544470"/>
                <a:gd name="connsiteX4" fmla="*/ 455304 w 516853"/>
                <a:gd name="connsiteY4" fmla="*/ 507380 h 544470"/>
                <a:gd name="connsiteX5" fmla="*/ 456507 w 516853"/>
                <a:gd name="connsiteY5" fmla="*/ 511791 h 544470"/>
                <a:gd name="connsiteX6" fmla="*/ 417813 w 516853"/>
                <a:gd name="connsiteY6" fmla="*/ 544470 h 544470"/>
                <a:gd name="connsiteX7" fmla="*/ 388943 w 516853"/>
                <a:gd name="connsiteY7" fmla="*/ 518006 h 544470"/>
                <a:gd name="connsiteX8" fmla="*/ 325990 w 516853"/>
                <a:gd name="connsiteY8" fmla="*/ 370448 h 544470"/>
                <a:gd name="connsiteX9" fmla="*/ 4812 w 516853"/>
                <a:gd name="connsiteY9" fmla="*/ 29221 h 544470"/>
                <a:gd name="connsiteX10" fmla="*/ 4812 w 516853"/>
                <a:gd name="connsiteY10" fmla="*/ 4962 h 544470"/>
                <a:gd name="connsiteX11" fmla="*/ 27667 w 516853"/>
                <a:gd name="connsiteY11" fmla="*/ 4962 h 544470"/>
                <a:gd name="connsiteX12" fmla="*/ 349046 w 516853"/>
                <a:gd name="connsiteY12" fmla="*/ 345788 h 544470"/>
                <a:gd name="connsiteX13" fmla="*/ 488184 w 516853"/>
                <a:gd name="connsiteY13" fmla="*/ 412550 h 544470"/>
                <a:gd name="connsiteX14" fmla="*/ 516853 w 516853"/>
                <a:gd name="connsiteY14" fmla="*/ 448437 h 544470"/>
                <a:gd name="connsiteX15" fmla="*/ 484374 w 516853"/>
                <a:gd name="connsiteY15" fmla="*/ 484725 h 54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16853" h="544470">
                  <a:moveTo>
                    <a:pt x="484374" y="484725"/>
                  </a:moveTo>
                  <a:lnTo>
                    <a:pt x="478360" y="482921"/>
                  </a:lnTo>
                  <a:lnTo>
                    <a:pt x="482169" y="486931"/>
                  </a:lnTo>
                  <a:cubicBezTo>
                    <a:pt x="474350" y="494950"/>
                    <a:pt x="466331" y="502569"/>
                    <a:pt x="458111" y="510187"/>
                  </a:cubicBezTo>
                  <a:lnTo>
                    <a:pt x="455304" y="507380"/>
                  </a:lnTo>
                  <a:lnTo>
                    <a:pt x="456507" y="511791"/>
                  </a:lnTo>
                  <a:cubicBezTo>
                    <a:pt x="444077" y="523219"/>
                    <a:pt x="431246" y="534045"/>
                    <a:pt x="417813" y="544470"/>
                  </a:cubicBezTo>
                  <a:cubicBezTo>
                    <a:pt x="407989" y="536651"/>
                    <a:pt x="398366" y="527830"/>
                    <a:pt x="388943" y="518006"/>
                  </a:cubicBezTo>
                  <a:cubicBezTo>
                    <a:pt x="342029" y="468285"/>
                    <a:pt x="313360" y="406736"/>
                    <a:pt x="325990" y="370448"/>
                  </a:cubicBezTo>
                  <a:lnTo>
                    <a:pt x="4812" y="29221"/>
                  </a:lnTo>
                  <a:cubicBezTo>
                    <a:pt x="-1604" y="22605"/>
                    <a:pt x="-1604" y="11578"/>
                    <a:pt x="4812" y="4962"/>
                  </a:cubicBezTo>
                  <a:cubicBezTo>
                    <a:pt x="11227" y="-1654"/>
                    <a:pt x="21452" y="-1654"/>
                    <a:pt x="27667" y="4962"/>
                  </a:cubicBezTo>
                  <a:lnTo>
                    <a:pt x="349046" y="345788"/>
                  </a:lnTo>
                  <a:cubicBezTo>
                    <a:pt x="383129" y="332356"/>
                    <a:pt x="441270" y="362830"/>
                    <a:pt x="488184" y="412550"/>
                  </a:cubicBezTo>
                  <a:cubicBezTo>
                    <a:pt x="499210" y="424179"/>
                    <a:pt x="508834" y="436208"/>
                    <a:pt x="516853" y="448437"/>
                  </a:cubicBezTo>
                  <a:cubicBezTo>
                    <a:pt x="506628" y="461068"/>
                    <a:pt x="495602" y="473097"/>
                    <a:pt x="484374" y="484725"/>
                  </a:cubicBezTo>
                  <a:close/>
                </a:path>
              </a:pathLst>
            </a:custGeom>
            <a:solidFill>
              <a:srgbClr val="969483">
                <a:alpha val="30000"/>
              </a:srgbClr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grpSp>
          <p:nvGrpSpPr>
            <p:cNvPr id="14" name="Gráfico 428">
              <a:extLst>
                <a:ext uri="{FF2B5EF4-FFF2-40B4-BE49-F238E27FC236}">
                  <a16:creationId xmlns:a16="http://schemas.microsoft.com/office/drawing/2014/main" id="{24A16511-62C3-1703-F9EF-F59723D6E827}"/>
                </a:ext>
              </a:extLst>
            </p:cNvPr>
            <p:cNvGrpSpPr/>
            <p:nvPr/>
          </p:nvGrpSpPr>
          <p:grpSpPr>
            <a:xfrm>
              <a:off x="11234723" y="5535405"/>
              <a:ext cx="759512" cy="568048"/>
              <a:chOff x="11234723" y="5535405"/>
              <a:chExt cx="759512" cy="568048"/>
            </a:xfrm>
            <a:solidFill>
              <a:schemeClr val="accent1"/>
            </a:solidFill>
          </p:grpSpPr>
          <p:sp>
            <p:nvSpPr>
              <p:cNvPr id="15" name="Forma libre: forma 193">
                <a:extLst>
                  <a:ext uri="{FF2B5EF4-FFF2-40B4-BE49-F238E27FC236}">
                    <a16:creationId xmlns:a16="http://schemas.microsoft.com/office/drawing/2014/main" id="{EAC7B280-7445-F8DA-2133-2689EB84262B}"/>
                  </a:ext>
                </a:extLst>
              </p:cNvPr>
              <p:cNvSpPr/>
              <p:nvPr/>
            </p:nvSpPr>
            <p:spPr>
              <a:xfrm>
                <a:off x="11702673" y="5535405"/>
                <a:ext cx="291562" cy="247533"/>
              </a:xfrm>
              <a:custGeom>
                <a:avLst/>
                <a:gdLst>
                  <a:gd name="connsiteX0" fmla="*/ 168465 w 291562"/>
                  <a:gd name="connsiteY0" fmla="*/ 112072 h 247533"/>
                  <a:gd name="connsiteX1" fmla="*/ 220791 w 291562"/>
                  <a:gd name="connsiteY1" fmla="*/ 0 h 247533"/>
                  <a:gd name="connsiteX2" fmla="*/ 106915 w 291562"/>
                  <a:gd name="connsiteY2" fmla="*/ 49520 h 247533"/>
                  <a:gd name="connsiteX3" fmla="*/ 8878 w 291562"/>
                  <a:gd name="connsiteY3" fmla="*/ 224945 h 247533"/>
                  <a:gd name="connsiteX4" fmla="*/ 206958 w 291562"/>
                  <a:gd name="connsiteY4" fmla="*/ 191063 h 247533"/>
                  <a:gd name="connsiteX5" fmla="*/ 291563 w 291562"/>
                  <a:gd name="connsiteY5" fmla="*/ 100043 h 247533"/>
                  <a:gd name="connsiteX6" fmla="*/ 168465 w 291562"/>
                  <a:gd name="connsiteY6" fmla="*/ 112072 h 247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1562" h="247533">
                    <a:moveTo>
                      <a:pt x="168465" y="112072"/>
                    </a:moveTo>
                    <a:lnTo>
                      <a:pt x="220791" y="0"/>
                    </a:lnTo>
                    <a:cubicBezTo>
                      <a:pt x="186308" y="5213"/>
                      <a:pt x="145609" y="22053"/>
                      <a:pt x="106915" y="49520"/>
                    </a:cubicBezTo>
                    <a:cubicBezTo>
                      <a:pt x="29327" y="104253"/>
                      <a:pt x="-21396" y="182041"/>
                      <a:pt x="8878" y="224945"/>
                    </a:cubicBezTo>
                    <a:cubicBezTo>
                      <a:pt x="39151" y="267849"/>
                      <a:pt x="129570" y="245796"/>
                      <a:pt x="206958" y="191063"/>
                    </a:cubicBezTo>
                    <a:cubicBezTo>
                      <a:pt x="245652" y="163597"/>
                      <a:pt x="275123" y="130917"/>
                      <a:pt x="291563" y="100043"/>
                    </a:cubicBezTo>
                    <a:lnTo>
                      <a:pt x="168465" y="112072"/>
                    </a:lnTo>
                    <a:close/>
                  </a:path>
                </a:pathLst>
              </a:custGeom>
              <a:solidFill>
                <a:schemeClr val="tx2"/>
              </a:solidFill>
              <a:ln w="20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  <p:sp>
            <p:nvSpPr>
              <p:cNvPr id="16" name="Forma libre: forma 194">
                <a:extLst>
                  <a:ext uri="{FF2B5EF4-FFF2-40B4-BE49-F238E27FC236}">
                    <a16:creationId xmlns:a16="http://schemas.microsoft.com/office/drawing/2014/main" id="{C1A1446B-2ED7-0475-AA5A-37C54230A7C5}"/>
                  </a:ext>
                </a:extLst>
              </p:cNvPr>
              <p:cNvSpPr/>
              <p:nvPr/>
            </p:nvSpPr>
            <p:spPr>
              <a:xfrm>
                <a:off x="11234723" y="5599289"/>
                <a:ext cx="696429" cy="504163"/>
              </a:xfrm>
              <a:custGeom>
                <a:avLst/>
                <a:gdLst>
                  <a:gd name="connsiteX0" fmla="*/ 3680 w 696429"/>
                  <a:gd name="connsiteY0" fmla="*/ 495673 h 504163"/>
                  <a:gd name="connsiteX1" fmla="*/ 8491 w 696429"/>
                  <a:gd name="connsiteY1" fmla="*/ 467605 h 504163"/>
                  <a:gd name="connsiteX2" fmla="*/ 664682 w 696429"/>
                  <a:gd name="connsiteY2" fmla="*/ 3680 h 504163"/>
                  <a:gd name="connsiteX3" fmla="*/ 692750 w 696429"/>
                  <a:gd name="connsiteY3" fmla="*/ 8491 h 504163"/>
                  <a:gd name="connsiteX4" fmla="*/ 687939 w 696429"/>
                  <a:gd name="connsiteY4" fmla="*/ 36559 h 504163"/>
                  <a:gd name="connsiteX5" fmla="*/ 31748 w 696429"/>
                  <a:gd name="connsiteY5" fmla="*/ 500484 h 504163"/>
                  <a:gd name="connsiteX6" fmla="*/ 3680 w 696429"/>
                  <a:gd name="connsiteY6" fmla="*/ 495673 h 504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96429" h="504163">
                    <a:moveTo>
                      <a:pt x="3680" y="495673"/>
                    </a:moveTo>
                    <a:cubicBezTo>
                      <a:pt x="-2736" y="486651"/>
                      <a:pt x="-531" y="474020"/>
                      <a:pt x="8491" y="467605"/>
                    </a:cubicBezTo>
                    <a:lnTo>
                      <a:pt x="664682" y="3680"/>
                    </a:lnTo>
                    <a:cubicBezTo>
                      <a:pt x="673704" y="-2736"/>
                      <a:pt x="686335" y="-531"/>
                      <a:pt x="692750" y="8491"/>
                    </a:cubicBezTo>
                    <a:cubicBezTo>
                      <a:pt x="699166" y="17513"/>
                      <a:pt x="696960" y="30144"/>
                      <a:pt x="687939" y="36559"/>
                    </a:cubicBezTo>
                    <a:lnTo>
                      <a:pt x="31748" y="500484"/>
                    </a:lnTo>
                    <a:cubicBezTo>
                      <a:pt x="22726" y="506900"/>
                      <a:pt x="10095" y="504695"/>
                      <a:pt x="3680" y="495673"/>
                    </a:cubicBezTo>
                    <a:close/>
                  </a:path>
                </a:pathLst>
              </a:custGeom>
              <a:solidFill>
                <a:srgbClr val="BCBEC0"/>
              </a:solidFill>
              <a:ln w="20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</p:grpSp>
      </p:grpSp>
      <p:grpSp>
        <p:nvGrpSpPr>
          <p:cNvPr id="17" name="Gráfico 428">
            <a:extLst>
              <a:ext uri="{FF2B5EF4-FFF2-40B4-BE49-F238E27FC236}">
                <a16:creationId xmlns:a16="http://schemas.microsoft.com/office/drawing/2014/main" id="{18A74128-C2C7-145C-090C-0AAFB815B671}"/>
              </a:ext>
            </a:extLst>
          </p:cNvPr>
          <p:cNvGrpSpPr/>
          <p:nvPr/>
        </p:nvGrpSpPr>
        <p:grpSpPr>
          <a:xfrm>
            <a:off x="6133812" y="1232212"/>
            <a:ext cx="527487" cy="491962"/>
            <a:chOff x="10583215" y="5434962"/>
            <a:chExt cx="1411020" cy="1315990"/>
          </a:xfrm>
          <a:solidFill>
            <a:schemeClr val="accent1"/>
          </a:solidFill>
        </p:grpSpPr>
        <p:sp>
          <p:nvSpPr>
            <p:cNvPr id="18" name="Forma libre: forma 185">
              <a:extLst>
                <a:ext uri="{FF2B5EF4-FFF2-40B4-BE49-F238E27FC236}">
                  <a16:creationId xmlns:a16="http://schemas.microsoft.com/office/drawing/2014/main" id="{0F2EC5B0-6678-A2DD-8303-6D8419C6E8E6}"/>
                </a:ext>
              </a:extLst>
            </p:cNvPr>
            <p:cNvSpPr/>
            <p:nvPr/>
          </p:nvSpPr>
          <p:spPr>
            <a:xfrm>
              <a:off x="10583215" y="5434962"/>
              <a:ext cx="1315990" cy="1315990"/>
            </a:xfrm>
            <a:custGeom>
              <a:avLst/>
              <a:gdLst>
                <a:gd name="connsiteX0" fmla="*/ 1315991 w 1315990"/>
                <a:gd name="connsiteY0" fmla="*/ 657996 h 1315990"/>
                <a:gd name="connsiteX1" fmla="*/ 1162418 w 1315990"/>
                <a:gd name="connsiteY1" fmla="*/ 1080620 h 1315990"/>
                <a:gd name="connsiteX2" fmla="*/ 1129739 w 1315990"/>
                <a:gd name="connsiteY2" fmla="*/ 1116708 h 1315990"/>
                <a:gd name="connsiteX3" fmla="*/ 1127534 w 1315990"/>
                <a:gd name="connsiteY3" fmla="*/ 1118913 h 1315990"/>
                <a:gd name="connsiteX4" fmla="*/ 1103475 w 1315990"/>
                <a:gd name="connsiteY4" fmla="*/ 1142170 h 1315990"/>
                <a:gd name="connsiteX5" fmla="*/ 1101872 w 1315990"/>
                <a:gd name="connsiteY5" fmla="*/ 1143573 h 1315990"/>
                <a:gd name="connsiteX6" fmla="*/ 1063178 w 1315990"/>
                <a:gd name="connsiteY6" fmla="*/ 1176252 h 1315990"/>
                <a:gd name="connsiteX7" fmla="*/ 657795 w 1315990"/>
                <a:gd name="connsiteY7" fmla="*/ 1315991 h 1315990"/>
                <a:gd name="connsiteX8" fmla="*/ 0 w 1315990"/>
                <a:gd name="connsiteY8" fmla="*/ 657996 h 1315990"/>
                <a:gd name="connsiteX9" fmla="*/ 657995 w 1315990"/>
                <a:gd name="connsiteY9" fmla="*/ 0 h 1315990"/>
                <a:gd name="connsiteX10" fmla="*/ 1315991 w 1315990"/>
                <a:gd name="connsiteY10" fmla="*/ 657996 h 1315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15990" h="1315990">
                  <a:moveTo>
                    <a:pt x="1315991" y="657996"/>
                  </a:moveTo>
                  <a:cubicBezTo>
                    <a:pt x="1315991" y="818986"/>
                    <a:pt x="1258251" y="966343"/>
                    <a:pt x="1162418" y="1080620"/>
                  </a:cubicBezTo>
                  <a:cubicBezTo>
                    <a:pt x="1151993" y="1093050"/>
                    <a:pt x="1141167" y="1105080"/>
                    <a:pt x="1129739" y="1116708"/>
                  </a:cubicBezTo>
                  <a:cubicBezTo>
                    <a:pt x="1128937" y="1117510"/>
                    <a:pt x="1128336" y="1118312"/>
                    <a:pt x="1127534" y="1118913"/>
                  </a:cubicBezTo>
                  <a:cubicBezTo>
                    <a:pt x="1119715" y="1126933"/>
                    <a:pt x="1111695" y="1134551"/>
                    <a:pt x="1103475" y="1142170"/>
                  </a:cubicBezTo>
                  <a:cubicBezTo>
                    <a:pt x="1102874" y="1142571"/>
                    <a:pt x="1102473" y="1143172"/>
                    <a:pt x="1101872" y="1143573"/>
                  </a:cubicBezTo>
                  <a:cubicBezTo>
                    <a:pt x="1089441" y="1155001"/>
                    <a:pt x="1076610" y="1165827"/>
                    <a:pt x="1063178" y="1176252"/>
                  </a:cubicBezTo>
                  <a:cubicBezTo>
                    <a:pt x="951507" y="1263865"/>
                    <a:pt x="810766" y="1315991"/>
                    <a:pt x="657795" y="1315991"/>
                  </a:cubicBezTo>
                  <a:cubicBezTo>
                    <a:pt x="294514" y="1315991"/>
                    <a:pt x="0" y="1021276"/>
                    <a:pt x="0" y="657996"/>
                  </a:cubicBezTo>
                  <a:cubicBezTo>
                    <a:pt x="0" y="294514"/>
                    <a:pt x="294514" y="0"/>
                    <a:pt x="657995" y="0"/>
                  </a:cubicBezTo>
                  <a:cubicBezTo>
                    <a:pt x="1021477" y="0"/>
                    <a:pt x="1315991" y="294514"/>
                    <a:pt x="1315991" y="657996"/>
                  </a:cubicBezTo>
                  <a:close/>
                </a:path>
              </a:pathLst>
            </a:custGeom>
            <a:solidFill>
              <a:schemeClr val="accent1"/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19" name="Forma libre: forma 186">
              <a:extLst>
                <a:ext uri="{FF2B5EF4-FFF2-40B4-BE49-F238E27FC236}">
                  <a16:creationId xmlns:a16="http://schemas.microsoft.com/office/drawing/2014/main" id="{AE89AB37-EFD2-B511-2802-F2E78225AE19}"/>
                </a:ext>
              </a:extLst>
            </p:cNvPr>
            <p:cNvSpPr/>
            <p:nvPr/>
          </p:nvSpPr>
          <p:spPr>
            <a:xfrm>
              <a:off x="10749217" y="5600964"/>
              <a:ext cx="983985" cy="983985"/>
            </a:xfrm>
            <a:custGeom>
              <a:avLst/>
              <a:gdLst>
                <a:gd name="connsiteX0" fmla="*/ 983986 w 983985"/>
                <a:gd name="connsiteY0" fmla="*/ 491993 h 983985"/>
                <a:gd name="connsiteX1" fmla="*/ 491993 w 983985"/>
                <a:gd name="connsiteY1" fmla="*/ 983986 h 983985"/>
                <a:gd name="connsiteX2" fmla="*/ 0 w 983985"/>
                <a:gd name="connsiteY2" fmla="*/ 491993 h 983985"/>
                <a:gd name="connsiteX3" fmla="*/ 491993 w 983985"/>
                <a:gd name="connsiteY3" fmla="*/ 0 h 983985"/>
                <a:gd name="connsiteX4" fmla="*/ 983986 w 983985"/>
                <a:gd name="connsiteY4" fmla="*/ 491993 h 9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3985" h="983985">
                  <a:moveTo>
                    <a:pt x="983986" y="491993"/>
                  </a:moveTo>
                  <a:cubicBezTo>
                    <a:pt x="983986" y="763652"/>
                    <a:pt x="763652" y="983986"/>
                    <a:pt x="491993" y="983986"/>
                  </a:cubicBezTo>
                  <a:cubicBezTo>
                    <a:pt x="220334" y="983986"/>
                    <a:pt x="0" y="763652"/>
                    <a:pt x="0" y="491993"/>
                  </a:cubicBezTo>
                  <a:cubicBezTo>
                    <a:pt x="0" y="220334"/>
                    <a:pt x="220334" y="0"/>
                    <a:pt x="491993" y="0"/>
                  </a:cubicBezTo>
                  <a:cubicBezTo>
                    <a:pt x="763652" y="0"/>
                    <a:pt x="983986" y="220334"/>
                    <a:pt x="983986" y="491993"/>
                  </a:cubicBezTo>
                  <a:close/>
                </a:path>
              </a:pathLst>
            </a:custGeom>
            <a:solidFill>
              <a:srgbClr val="FFFFFF"/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0" name="Forma libre: forma 187">
              <a:extLst>
                <a:ext uri="{FF2B5EF4-FFF2-40B4-BE49-F238E27FC236}">
                  <a16:creationId xmlns:a16="http://schemas.microsoft.com/office/drawing/2014/main" id="{FAD72AC4-B993-4AFE-0E07-8F49582EE94C}"/>
                </a:ext>
              </a:extLst>
            </p:cNvPr>
            <p:cNvSpPr/>
            <p:nvPr/>
          </p:nvSpPr>
          <p:spPr>
            <a:xfrm>
              <a:off x="10877328" y="5729075"/>
              <a:ext cx="727764" cy="727764"/>
            </a:xfrm>
            <a:custGeom>
              <a:avLst/>
              <a:gdLst>
                <a:gd name="connsiteX0" fmla="*/ 727765 w 727764"/>
                <a:gd name="connsiteY0" fmla="*/ 363882 h 727764"/>
                <a:gd name="connsiteX1" fmla="*/ 363882 w 727764"/>
                <a:gd name="connsiteY1" fmla="*/ 727765 h 727764"/>
                <a:gd name="connsiteX2" fmla="*/ 0 w 727764"/>
                <a:gd name="connsiteY2" fmla="*/ 363882 h 727764"/>
                <a:gd name="connsiteX3" fmla="*/ 363882 w 727764"/>
                <a:gd name="connsiteY3" fmla="*/ 0 h 727764"/>
                <a:gd name="connsiteX4" fmla="*/ 727765 w 727764"/>
                <a:gd name="connsiteY4" fmla="*/ 363882 h 727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7764" h="727764">
                  <a:moveTo>
                    <a:pt x="727765" y="363882"/>
                  </a:moveTo>
                  <a:cubicBezTo>
                    <a:pt x="727765" y="564769"/>
                    <a:pt x="564970" y="727765"/>
                    <a:pt x="363882" y="727765"/>
                  </a:cubicBezTo>
                  <a:cubicBezTo>
                    <a:pt x="162995" y="727765"/>
                    <a:pt x="0" y="564970"/>
                    <a:pt x="0" y="363882"/>
                  </a:cubicBezTo>
                  <a:cubicBezTo>
                    <a:pt x="0" y="162795"/>
                    <a:pt x="162995" y="0"/>
                    <a:pt x="363882" y="0"/>
                  </a:cubicBezTo>
                  <a:cubicBezTo>
                    <a:pt x="564769" y="0"/>
                    <a:pt x="727765" y="162995"/>
                    <a:pt x="727765" y="363882"/>
                  </a:cubicBezTo>
                  <a:close/>
                </a:path>
              </a:pathLst>
            </a:custGeom>
            <a:solidFill>
              <a:schemeClr val="bg2"/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1" name="Forma libre: forma 188">
              <a:extLst>
                <a:ext uri="{FF2B5EF4-FFF2-40B4-BE49-F238E27FC236}">
                  <a16:creationId xmlns:a16="http://schemas.microsoft.com/office/drawing/2014/main" id="{51ABA006-725A-6D82-0E86-2F91677129B2}"/>
                </a:ext>
              </a:extLst>
            </p:cNvPr>
            <p:cNvSpPr/>
            <p:nvPr/>
          </p:nvSpPr>
          <p:spPr>
            <a:xfrm>
              <a:off x="11023682" y="5875430"/>
              <a:ext cx="435054" cy="435054"/>
            </a:xfrm>
            <a:custGeom>
              <a:avLst/>
              <a:gdLst>
                <a:gd name="connsiteX0" fmla="*/ 435055 w 435054"/>
                <a:gd name="connsiteY0" fmla="*/ 217527 h 435054"/>
                <a:gd name="connsiteX1" fmla="*/ 217527 w 435054"/>
                <a:gd name="connsiteY1" fmla="*/ 435055 h 435054"/>
                <a:gd name="connsiteX2" fmla="*/ 0 w 435054"/>
                <a:gd name="connsiteY2" fmla="*/ 217527 h 435054"/>
                <a:gd name="connsiteX3" fmla="*/ 217527 w 435054"/>
                <a:gd name="connsiteY3" fmla="*/ 0 h 435054"/>
                <a:gd name="connsiteX4" fmla="*/ 435055 w 435054"/>
                <a:gd name="connsiteY4" fmla="*/ 217527 h 435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054" h="435054">
                  <a:moveTo>
                    <a:pt x="435055" y="217527"/>
                  </a:moveTo>
                  <a:cubicBezTo>
                    <a:pt x="435055" y="337619"/>
                    <a:pt x="337619" y="435055"/>
                    <a:pt x="217527" y="435055"/>
                  </a:cubicBezTo>
                  <a:cubicBezTo>
                    <a:pt x="97436" y="435055"/>
                    <a:pt x="0" y="337619"/>
                    <a:pt x="0" y="217527"/>
                  </a:cubicBezTo>
                  <a:cubicBezTo>
                    <a:pt x="0" y="97436"/>
                    <a:pt x="97436" y="0"/>
                    <a:pt x="217527" y="0"/>
                  </a:cubicBezTo>
                  <a:cubicBezTo>
                    <a:pt x="337619" y="0"/>
                    <a:pt x="435055" y="97236"/>
                    <a:pt x="435055" y="217527"/>
                  </a:cubicBezTo>
                  <a:close/>
                </a:path>
              </a:pathLst>
            </a:custGeom>
            <a:solidFill>
              <a:srgbClr val="FFFDFD"/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2" name="Forma libre: forma 189">
              <a:extLst>
                <a:ext uri="{FF2B5EF4-FFF2-40B4-BE49-F238E27FC236}">
                  <a16:creationId xmlns:a16="http://schemas.microsoft.com/office/drawing/2014/main" id="{1F50E80E-C9E9-C34C-9C8C-7DE2F6F20E03}"/>
                </a:ext>
              </a:extLst>
            </p:cNvPr>
            <p:cNvSpPr/>
            <p:nvPr/>
          </p:nvSpPr>
          <p:spPr>
            <a:xfrm>
              <a:off x="11133754" y="5985496"/>
              <a:ext cx="214921" cy="214921"/>
            </a:xfrm>
            <a:custGeom>
              <a:avLst/>
              <a:gdLst>
                <a:gd name="connsiteX0" fmla="*/ 214921 w 214921"/>
                <a:gd name="connsiteY0" fmla="*/ 107461 h 214921"/>
                <a:gd name="connsiteX1" fmla="*/ 107461 w 214921"/>
                <a:gd name="connsiteY1" fmla="*/ 214921 h 214921"/>
                <a:gd name="connsiteX2" fmla="*/ 0 w 214921"/>
                <a:gd name="connsiteY2" fmla="*/ 107461 h 214921"/>
                <a:gd name="connsiteX3" fmla="*/ 107461 w 214921"/>
                <a:gd name="connsiteY3" fmla="*/ 0 h 214921"/>
                <a:gd name="connsiteX4" fmla="*/ 214921 w 214921"/>
                <a:gd name="connsiteY4" fmla="*/ 107461 h 21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921" h="214921">
                  <a:moveTo>
                    <a:pt x="214921" y="107461"/>
                  </a:moveTo>
                  <a:cubicBezTo>
                    <a:pt x="214921" y="166804"/>
                    <a:pt x="166804" y="214921"/>
                    <a:pt x="107461" y="214921"/>
                  </a:cubicBezTo>
                  <a:cubicBezTo>
                    <a:pt x="48117" y="214921"/>
                    <a:pt x="0" y="166804"/>
                    <a:pt x="0" y="107461"/>
                  </a:cubicBezTo>
                  <a:cubicBezTo>
                    <a:pt x="0" y="48117"/>
                    <a:pt x="48117" y="0"/>
                    <a:pt x="107461" y="0"/>
                  </a:cubicBezTo>
                  <a:cubicBezTo>
                    <a:pt x="166804" y="0"/>
                    <a:pt x="214921" y="48117"/>
                    <a:pt x="214921" y="107461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3" name="Forma libre: forma 190">
              <a:extLst>
                <a:ext uri="{FF2B5EF4-FFF2-40B4-BE49-F238E27FC236}">
                  <a16:creationId xmlns:a16="http://schemas.microsoft.com/office/drawing/2014/main" id="{B7D84FDD-BF12-AD07-72BB-8CB71BE86E67}"/>
                </a:ext>
              </a:extLst>
            </p:cNvPr>
            <p:cNvSpPr/>
            <p:nvPr/>
          </p:nvSpPr>
          <p:spPr>
            <a:xfrm>
              <a:off x="10583215" y="5434962"/>
              <a:ext cx="2004" cy="2004"/>
            </a:xfrm>
            <a:custGeom>
              <a:avLst/>
              <a:gdLst/>
              <a:ahLst/>
              <a:cxnLst/>
              <a:rect l="l" t="t" r="r" b="b"/>
              <a:pathLst>
                <a:path w="2004" h="2004"/>
              </a:pathLst>
            </a:custGeom>
            <a:noFill/>
            <a:ln w="200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24" name="Forma libre: forma 191">
              <a:extLst>
                <a:ext uri="{FF2B5EF4-FFF2-40B4-BE49-F238E27FC236}">
                  <a16:creationId xmlns:a16="http://schemas.microsoft.com/office/drawing/2014/main" id="{3C298D2B-56AA-66BE-10F5-C114ADE41819}"/>
                </a:ext>
              </a:extLst>
            </p:cNvPr>
            <p:cNvSpPr/>
            <p:nvPr/>
          </p:nvSpPr>
          <p:spPr>
            <a:xfrm>
              <a:off x="11228579" y="6066944"/>
              <a:ext cx="516853" cy="544470"/>
            </a:xfrm>
            <a:custGeom>
              <a:avLst/>
              <a:gdLst>
                <a:gd name="connsiteX0" fmla="*/ 484374 w 516853"/>
                <a:gd name="connsiteY0" fmla="*/ 484725 h 544470"/>
                <a:gd name="connsiteX1" fmla="*/ 478360 w 516853"/>
                <a:gd name="connsiteY1" fmla="*/ 482921 h 544470"/>
                <a:gd name="connsiteX2" fmla="*/ 482169 w 516853"/>
                <a:gd name="connsiteY2" fmla="*/ 486931 h 544470"/>
                <a:gd name="connsiteX3" fmla="*/ 458111 w 516853"/>
                <a:gd name="connsiteY3" fmla="*/ 510187 h 544470"/>
                <a:gd name="connsiteX4" fmla="*/ 455304 w 516853"/>
                <a:gd name="connsiteY4" fmla="*/ 507380 h 544470"/>
                <a:gd name="connsiteX5" fmla="*/ 456507 w 516853"/>
                <a:gd name="connsiteY5" fmla="*/ 511791 h 544470"/>
                <a:gd name="connsiteX6" fmla="*/ 417813 w 516853"/>
                <a:gd name="connsiteY6" fmla="*/ 544470 h 544470"/>
                <a:gd name="connsiteX7" fmla="*/ 388943 w 516853"/>
                <a:gd name="connsiteY7" fmla="*/ 518006 h 544470"/>
                <a:gd name="connsiteX8" fmla="*/ 325990 w 516853"/>
                <a:gd name="connsiteY8" fmla="*/ 370448 h 544470"/>
                <a:gd name="connsiteX9" fmla="*/ 4812 w 516853"/>
                <a:gd name="connsiteY9" fmla="*/ 29221 h 544470"/>
                <a:gd name="connsiteX10" fmla="*/ 4812 w 516853"/>
                <a:gd name="connsiteY10" fmla="*/ 4962 h 544470"/>
                <a:gd name="connsiteX11" fmla="*/ 27667 w 516853"/>
                <a:gd name="connsiteY11" fmla="*/ 4962 h 544470"/>
                <a:gd name="connsiteX12" fmla="*/ 349046 w 516853"/>
                <a:gd name="connsiteY12" fmla="*/ 345788 h 544470"/>
                <a:gd name="connsiteX13" fmla="*/ 488184 w 516853"/>
                <a:gd name="connsiteY13" fmla="*/ 412550 h 544470"/>
                <a:gd name="connsiteX14" fmla="*/ 516853 w 516853"/>
                <a:gd name="connsiteY14" fmla="*/ 448437 h 544470"/>
                <a:gd name="connsiteX15" fmla="*/ 484374 w 516853"/>
                <a:gd name="connsiteY15" fmla="*/ 484725 h 54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16853" h="544470">
                  <a:moveTo>
                    <a:pt x="484374" y="484725"/>
                  </a:moveTo>
                  <a:lnTo>
                    <a:pt x="478360" y="482921"/>
                  </a:lnTo>
                  <a:lnTo>
                    <a:pt x="482169" y="486931"/>
                  </a:lnTo>
                  <a:cubicBezTo>
                    <a:pt x="474350" y="494950"/>
                    <a:pt x="466331" y="502569"/>
                    <a:pt x="458111" y="510187"/>
                  </a:cubicBezTo>
                  <a:lnTo>
                    <a:pt x="455304" y="507380"/>
                  </a:lnTo>
                  <a:lnTo>
                    <a:pt x="456507" y="511791"/>
                  </a:lnTo>
                  <a:cubicBezTo>
                    <a:pt x="444077" y="523219"/>
                    <a:pt x="431246" y="534045"/>
                    <a:pt x="417813" y="544470"/>
                  </a:cubicBezTo>
                  <a:cubicBezTo>
                    <a:pt x="407989" y="536651"/>
                    <a:pt x="398366" y="527830"/>
                    <a:pt x="388943" y="518006"/>
                  </a:cubicBezTo>
                  <a:cubicBezTo>
                    <a:pt x="342029" y="468285"/>
                    <a:pt x="313360" y="406736"/>
                    <a:pt x="325990" y="370448"/>
                  </a:cubicBezTo>
                  <a:lnTo>
                    <a:pt x="4812" y="29221"/>
                  </a:lnTo>
                  <a:cubicBezTo>
                    <a:pt x="-1604" y="22605"/>
                    <a:pt x="-1604" y="11578"/>
                    <a:pt x="4812" y="4962"/>
                  </a:cubicBezTo>
                  <a:cubicBezTo>
                    <a:pt x="11227" y="-1654"/>
                    <a:pt x="21452" y="-1654"/>
                    <a:pt x="27667" y="4962"/>
                  </a:cubicBezTo>
                  <a:lnTo>
                    <a:pt x="349046" y="345788"/>
                  </a:lnTo>
                  <a:cubicBezTo>
                    <a:pt x="383129" y="332356"/>
                    <a:pt x="441270" y="362830"/>
                    <a:pt x="488184" y="412550"/>
                  </a:cubicBezTo>
                  <a:cubicBezTo>
                    <a:pt x="499210" y="424179"/>
                    <a:pt x="508834" y="436208"/>
                    <a:pt x="516853" y="448437"/>
                  </a:cubicBezTo>
                  <a:cubicBezTo>
                    <a:pt x="506628" y="461068"/>
                    <a:pt x="495602" y="473097"/>
                    <a:pt x="484374" y="484725"/>
                  </a:cubicBezTo>
                  <a:close/>
                </a:path>
              </a:pathLst>
            </a:custGeom>
            <a:solidFill>
              <a:srgbClr val="969483">
                <a:alpha val="30000"/>
              </a:srgbClr>
            </a:solidFill>
            <a:ln w="20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grpSp>
          <p:nvGrpSpPr>
            <p:cNvPr id="25" name="Gráfico 428">
              <a:extLst>
                <a:ext uri="{FF2B5EF4-FFF2-40B4-BE49-F238E27FC236}">
                  <a16:creationId xmlns:a16="http://schemas.microsoft.com/office/drawing/2014/main" id="{C84FA491-39F2-7053-C405-AA1C90487E94}"/>
                </a:ext>
              </a:extLst>
            </p:cNvPr>
            <p:cNvGrpSpPr/>
            <p:nvPr/>
          </p:nvGrpSpPr>
          <p:grpSpPr>
            <a:xfrm>
              <a:off x="11234723" y="5535405"/>
              <a:ext cx="759512" cy="568048"/>
              <a:chOff x="11234723" y="5535405"/>
              <a:chExt cx="759512" cy="568048"/>
            </a:xfrm>
            <a:solidFill>
              <a:schemeClr val="accent1"/>
            </a:solidFill>
          </p:grpSpPr>
          <p:sp>
            <p:nvSpPr>
              <p:cNvPr id="26" name="Forma libre: forma 193">
                <a:extLst>
                  <a:ext uri="{FF2B5EF4-FFF2-40B4-BE49-F238E27FC236}">
                    <a16:creationId xmlns:a16="http://schemas.microsoft.com/office/drawing/2014/main" id="{3B4997BB-3E58-854F-C5D9-3F54AC890C8F}"/>
                  </a:ext>
                </a:extLst>
              </p:cNvPr>
              <p:cNvSpPr/>
              <p:nvPr/>
            </p:nvSpPr>
            <p:spPr>
              <a:xfrm>
                <a:off x="11702673" y="5535405"/>
                <a:ext cx="291562" cy="247533"/>
              </a:xfrm>
              <a:custGeom>
                <a:avLst/>
                <a:gdLst>
                  <a:gd name="connsiteX0" fmla="*/ 168465 w 291562"/>
                  <a:gd name="connsiteY0" fmla="*/ 112072 h 247533"/>
                  <a:gd name="connsiteX1" fmla="*/ 220791 w 291562"/>
                  <a:gd name="connsiteY1" fmla="*/ 0 h 247533"/>
                  <a:gd name="connsiteX2" fmla="*/ 106915 w 291562"/>
                  <a:gd name="connsiteY2" fmla="*/ 49520 h 247533"/>
                  <a:gd name="connsiteX3" fmla="*/ 8878 w 291562"/>
                  <a:gd name="connsiteY3" fmla="*/ 224945 h 247533"/>
                  <a:gd name="connsiteX4" fmla="*/ 206958 w 291562"/>
                  <a:gd name="connsiteY4" fmla="*/ 191063 h 247533"/>
                  <a:gd name="connsiteX5" fmla="*/ 291563 w 291562"/>
                  <a:gd name="connsiteY5" fmla="*/ 100043 h 247533"/>
                  <a:gd name="connsiteX6" fmla="*/ 168465 w 291562"/>
                  <a:gd name="connsiteY6" fmla="*/ 112072 h 247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1562" h="247533">
                    <a:moveTo>
                      <a:pt x="168465" y="112072"/>
                    </a:moveTo>
                    <a:lnTo>
                      <a:pt x="220791" y="0"/>
                    </a:lnTo>
                    <a:cubicBezTo>
                      <a:pt x="186308" y="5213"/>
                      <a:pt x="145609" y="22053"/>
                      <a:pt x="106915" y="49520"/>
                    </a:cubicBezTo>
                    <a:cubicBezTo>
                      <a:pt x="29327" y="104253"/>
                      <a:pt x="-21396" y="182041"/>
                      <a:pt x="8878" y="224945"/>
                    </a:cubicBezTo>
                    <a:cubicBezTo>
                      <a:pt x="39151" y="267849"/>
                      <a:pt x="129570" y="245796"/>
                      <a:pt x="206958" y="191063"/>
                    </a:cubicBezTo>
                    <a:cubicBezTo>
                      <a:pt x="245652" y="163597"/>
                      <a:pt x="275123" y="130917"/>
                      <a:pt x="291563" y="100043"/>
                    </a:cubicBezTo>
                    <a:lnTo>
                      <a:pt x="168465" y="112072"/>
                    </a:lnTo>
                    <a:close/>
                  </a:path>
                </a:pathLst>
              </a:custGeom>
              <a:solidFill>
                <a:schemeClr val="tx2"/>
              </a:solidFill>
              <a:ln w="20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  <p:sp>
            <p:nvSpPr>
              <p:cNvPr id="27" name="Forma libre: forma 194">
                <a:extLst>
                  <a:ext uri="{FF2B5EF4-FFF2-40B4-BE49-F238E27FC236}">
                    <a16:creationId xmlns:a16="http://schemas.microsoft.com/office/drawing/2014/main" id="{F4911B64-1596-2D6C-41C3-C65537966C91}"/>
                  </a:ext>
                </a:extLst>
              </p:cNvPr>
              <p:cNvSpPr/>
              <p:nvPr/>
            </p:nvSpPr>
            <p:spPr>
              <a:xfrm>
                <a:off x="11234723" y="5599289"/>
                <a:ext cx="696429" cy="504163"/>
              </a:xfrm>
              <a:custGeom>
                <a:avLst/>
                <a:gdLst>
                  <a:gd name="connsiteX0" fmla="*/ 3680 w 696429"/>
                  <a:gd name="connsiteY0" fmla="*/ 495673 h 504163"/>
                  <a:gd name="connsiteX1" fmla="*/ 8491 w 696429"/>
                  <a:gd name="connsiteY1" fmla="*/ 467605 h 504163"/>
                  <a:gd name="connsiteX2" fmla="*/ 664682 w 696429"/>
                  <a:gd name="connsiteY2" fmla="*/ 3680 h 504163"/>
                  <a:gd name="connsiteX3" fmla="*/ 692750 w 696429"/>
                  <a:gd name="connsiteY3" fmla="*/ 8491 h 504163"/>
                  <a:gd name="connsiteX4" fmla="*/ 687939 w 696429"/>
                  <a:gd name="connsiteY4" fmla="*/ 36559 h 504163"/>
                  <a:gd name="connsiteX5" fmla="*/ 31748 w 696429"/>
                  <a:gd name="connsiteY5" fmla="*/ 500484 h 504163"/>
                  <a:gd name="connsiteX6" fmla="*/ 3680 w 696429"/>
                  <a:gd name="connsiteY6" fmla="*/ 495673 h 504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96429" h="504163">
                    <a:moveTo>
                      <a:pt x="3680" y="495673"/>
                    </a:moveTo>
                    <a:cubicBezTo>
                      <a:pt x="-2736" y="486651"/>
                      <a:pt x="-531" y="474020"/>
                      <a:pt x="8491" y="467605"/>
                    </a:cubicBezTo>
                    <a:lnTo>
                      <a:pt x="664682" y="3680"/>
                    </a:lnTo>
                    <a:cubicBezTo>
                      <a:pt x="673704" y="-2736"/>
                      <a:pt x="686335" y="-531"/>
                      <a:pt x="692750" y="8491"/>
                    </a:cubicBezTo>
                    <a:cubicBezTo>
                      <a:pt x="699166" y="17513"/>
                      <a:pt x="696960" y="30144"/>
                      <a:pt x="687939" y="36559"/>
                    </a:cubicBezTo>
                    <a:lnTo>
                      <a:pt x="31748" y="500484"/>
                    </a:lnTo>
                    <a:cubicBezTo>
                      <a:pt x="22726" y="506900"/>
                      <a:pt x="10095" y="504695"/>
                      <a:pt x="3680" y="495673"/>
                    </a:cubicBezTo>
                    <a:close/>
                  </a:path>
                </a:pathLst>
              </a:custGeom>
              <a:solidFill>
                <a:srgbClr val="BCBEC0"/>
              </a:solidFill>
              <a:ln w="20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</p:grpSp>
      </p:grpSp>
      <p:sp>
        <p:nvSpPr>
          <p:cNvPr id="28" name="Rectángulo: esquinas redondeadas 10">
            <a:extLst>
              <a:ext uri="{FF2B5EF4-FFF2-40B4-BE49-F238E27FC236}">
                <a16:creationId xmlns:a16="http://schemas.microsoft.com/office/drawing/2014/main" id="{F9673134-5AE0-1F3E-A436-F4D54019EABC}"/>
              </a:ext>
            </a:extLst>
          </p:cNvPr>
          <p:cNvSpPr/>
          <p:nvPr/>
        </p:nvSpPr>
        <p:spPr>
          <a:xfrm>
            <a:off x="3444027" y="3544577"/>
            <a:ext cx="5137265" cy="1536188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Amasis MT Pro Black" panose="020F0502020204030204" pitchFamily="18" charset="0"/>
              </a:rPr>
              <a:t>ARTIFICIAL INTELLIGENCE</a:t>
            </a:r>
            <a:endParaRPr lang="en-GB" sz="2400" b="1" i="0" u="none" strike="noStrike" baseline="0" dirty="0">
              <a:solidFill>
                <a:schemeClr val="bg1"/>
              </a:solidFill>
              <a:latin typeface="Amasis MT Pro Black" panose="020F0502020204030204" pitchFamily="18" charset="0"/>
            </a:endParaRPr>
          </a:p>
        </p:txBody>
      </p:sp>
      <p:sp>
        <p:nvSpPr>
          <p:cNvPr id="29" name="Rectángulo 11">
            <a:extLst>
              <a:ext uri="{FF2B5EF4-FFF2-40B4-BE49-F238E27FC236}">
                <a16:creationId xmlns:a16="http://schemas.microsoft.com/office/drawing/2014/main" id="{C21DF306-40A4-D6F5-D576-6BA0B4A0A2E1}"/>
              </a:ext>
            </a:extLst>
          </p:cNvPr>
          <p:cNvSpPr/>
          <p:nvPr/>
        </p:nvSpPr>
        <p:spPr>
          <a:xfrm>
            <a:off x="3341424" y="4845944"/>
            <a:ext cx="1800000" cy="59066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GB" b="1" dirty="0">
                <a:solidFill>
                  <a:schemeClr val="accent6"/>
                </a:solidFill>
              </a:rPr>
              <a:t>Guided machine learning</a:t>
            </a:r>
          </a:p>
        </p:txBody>
      </p:sp>
      <p:sp>
        <p:nvSpPr>
          <p:cNvPr id="30" name="Rectángulo 14">
            <a:extLst>
              <a:ext uri="{FF2B5EF4-FFF2-40B4-BE49-F238E27FC236}">
                <a16:creationId xmlns:a16="http://schemas.microsoft.com/office/drawing/2014/main" id="{1F1989AD-22A3-FAB9-7A90-F5C941F0481E}"/>
              </a:ext>
            </a:extLst>
          </p:cNvPr>
          <p:cNvSpPr/>
          <p:nvPr/>
        </p:nvSpPr>
        <p:spPr>
          <a:xfrm>
            <a:off x="5108426" y="4845943"/>
            <a:ext cx="1800000" cy="590667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GB" dirty="0"/>
              <a:t>Generative IA</a:t>
            </a:r>
          </a:p>
        </p:txBody>
      </p:sp>
      <p:pic>
        <p:nvPicPr>
          <p:cNvPr id="33" name="Gráfico 60">
            <a:extLst>
              <a:ext uri="{FF2B5EF4-FFF2-40B4-BE49-F238E27FC236}">
                <a16:creationId xmlns:a16="http://schemas.microsoft.com/office/drawing/2014/main" id="{0C07FD87-D1C9-2DCC-763C-13261DC531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82921" y="4193173"/>
            <a:ext cx="541356" cy="551970"/>
          </a:xfrm>
          <a:prstGeom prst="rect">
            <a:avLst/>
          </a:prstGeom>
        </p:spPr>
      </p:pic>
      <p:pic>
        <p:nvPicPr>
          <p:cNvPr id="34" name="Gráfico 42">
            <a:extLst>
              <a:ext uri="{FF2B5EF4-FFF2-40B4-BE49-F238E27FC236}">
                <a16:creationId xmlns:a16="http://schemas.microsoft.com/office/drawing/2014/main" id="{116D158E-4A24-C2ED-A79A-2E42E1109C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40929" y="4216634"/>
            <a:ext cx="438385" cy="582231"/>
          </a:xfrm>
          <a:prstGeom prst="rect">
            <a:avLst/>
          </a:prstGeom>
        </p:spPr>
      </p:pic>
      <p:sp>
        <p:nvSpPr>
          <p:cNvPr id="2" name="Rectángulo 11">
            <a:extLst>
              <a:ext uri="{FF2B5EF4-FFF2-40B4-BE49-F238E27FC236}">
                <a16:creationId xmlns:a16="http://schemas.microsoft.com/office/drawing/2014/main" id="{4DA2515C-A1D8-DACB-D021-C70A79423309}"/>
              </a:ext>
            </a:extLst>
          </p:cNvPr>
          <p:cNvSpPr/>
          <p:nvPr/>
        </p:nvSpPr>
        <p:spPr>
          <a:xfrm>
            <a:off x="6883895" y="4845943"/>
            <a:ext cx="1800000" cy="59066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GB" b="1" dirty="0">
                <a:solidFill>
                  <a:schemeClr val="accent6"/>
                </a:solidFill>
              </a:rPr>
              <a:t>Code generation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15AFB163-504C-DABD-E83B-048AD892D91A}"/>
              </a:ext>
            </a:extLst>
          </p:cNvPr>
          <p:cNvSpPr txBox="1"/>
          <p:nvPr/>
        </p:nvSpPr>
        <p:spPr>
          <a:xfrm>
            <a:off x="1689080" y="4793970"/>
            <a:ext cx="131799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/>
              <a:t>Metadata</a:t>
            </a:r>
          </a:p>
          <a:p>
            <a:pPr algn="ctr"/>
            <a:r>
              <a:rPr lang="en-GB" sz="1400" dirty="0"/>
              <a:t>Multilingualism</a:t>
            </a:r>
          </a:p>
          <a:p>
            <a:pPr algn="ctr"/>
            <a:r>
              <a:rPr lang="en-GB" sz="1400" dirty="0"/>
              <a:t>Linked-data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B38A60E7-D051-B18C-CB71-75179F16FF43}"/>
              </a:ext>
            </a:extLst>
          </p:cNvPr>
          <p:cNvSpPr txBox="1"/>
          <p:nvPr/>
        </p:nvSpPr>
        <p:spPr>
          <a:xfrm>
            <a:off x="8811486" y="4879666"/>
            <a:ext cx="15122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 dirty="0"/>
              <a:t>Discovery</a:t>
            </a:r>
          </a:p>
          <a:p>
            <a:pPr algn="ctr"/>
            <a:r>
              <a:rPr lang="en-GB" sz="1400" dirty="0"/>
              <a:t>Reusability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1A05C48F-453F-9D45-0659-C6D50D80885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50858" y="6327267"/>
            <a:ext cx="1365885" cy="37261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2C1209C0-CC53-25E6-5DF0-AAB6D311B46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92752" y="6421755"/>
            <a:ext cx="731520" cy="29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008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28" grpId="0" animBg="1"/>
      <p:bldP spid="29" grpId="0" animBg="1"/>
      <p:bldP spid="30" grpId="0" animBg="1"/>
      <p:bldP spid="2" grpId="0" animBg="1"/>
      <p:bldP spid="35" grpId="0"/>
      <p:bldP spid="3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>
            <a:extLst>
              <a:ext uri="{FF2B5EF4-FFF2-40B4-BE49-F238E27FC236}">
                <a16:creationId xmlns:a16="http://schemas.microsoft.com/office/drawing/2014/main" id="{3A4AAC32-AD6B-4D20-86BA-0CBAC3E578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23178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2" name="Objeto 1">
                        <a:extLst>
                          <a:ext uri="{FF2B5EF4-FFF2-40B4-BE49-F238E27FC236}">
                            <a16:creationId xmlns:a16="http://schemas.microsoft.com/office/drawing/2014/main" id="{3A4AAC32-AD6B-4D20-86BA-0CBAC3E578F8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23178" y="1101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BDB095E4-C708-4E3A-AB0B-A4B1B17E0BC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589314" y="3719072"/>
            <a:ext cx="3684239" cy="981702"/>
          </a:xfrm>
          <a:prstGeom prst="rect">
            <a:avLst/>
          </a:prstGeom>
        </p:spPr>
        <p:txBody>
          <a:bodyPr/>
          <a:lstStyle/>
          <a:p>
            <a:pPr algn="l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GB" sz="4400" b="1" dirty="0">
                <a:solidFill>
                  <a:srgbClr val="05446B"/>
                </a:solidFill>
                <a:latin typeface="+mn-lt"/>
                <a:ea typeface="+mn-ea"/>
                <a:cs typeface="+mn-cs"/>
              </a:rPr>
              <a:t>Thank you for your attention</a:t>
            </a:r>
          </a:p>
        </p:txBody>
      </p:sp>
      <p:sp>
        <p:nvSpPr>
          <p:cNvPr id="5" name="CuadroTexto 7">
            <a:extLst>
              <a:ext uri="{FF2B5EF4-FFF2-40B4-BE49-F238E27FC236}">
                <a16:creationId xmlns:a16="http://schemas.microsoft.com/office/drawing/2014/main" id="{D94D532A-7A9A-F89F-705C-69B3A49E14CC}"/>
              </a:ext>
            </a:extLst>
          </p:cNvPr>
          <p:cNvSpPr txBox="1"/>
          <p:nvPr/>
        </p:nvSpPr>
        <p:spPr>
          <a:xfrm>
            <a:off x="3524801" y="4806755"/>
            <a:ext cx="7149684" cy="10002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GB" sz="1600" dirty="0">
                <a:solidFill>
                  <a:schemeClr val="accent6"/>
                </a:solidFill>
                <a:latin typeface="Calibri"/>
                <a:cs typeface="Calibri"/>
              </a:rPr>
              <a:t>Ana Rosa Guzmán &lt;anarosa.guzman@correo.gob.es&gt;</a:t>
            </a:r>
          </a:p>
          <a:p>
            <a:pPr algn="r">
              <a:lnSpc>
                <a:spcPct val="90000"/>
              </a:lnSpc>
              <a:defRPr/>
            </a:pPr>
            <a:r>
              <a:rPr lang="en-GB" sz="1600" b="1" dirty="0">
                <a:solidFill>
                  <a:schemeClr val="accent6"/>
                </a:solidFill>
                <a:latin typeface="Calibri"/>
                <a:cs typeface="Calibri"/>
              </a:rPr>
              <a:t>Secretariat-General for Digital Administration</a:t>
            </a:r>
            <a:endParaRPr lang="en-GB" sz="1600" b="1" dirty="0">
              <a:solidFill>
                <a:schemeClr val="accent6"/>
              </a:solidFill>
              <a:latin typeface="Calibri"/>
              <a:ea typeface="Calibri"/>
              <a:cs typeface="Calibri"/>
            </a:endParaRPr>
          </a:p>
          <a:p>
            <a:pPr algn="r">
              <a:lnSpc>
                <a:spcPct val="90000"/>
              </a:lnSpc>
              <a:defRPr/>
            </a:pPr>
            <a:r>
              <a:rPr lang="en-GB" sz="1400" dirty="0">
                <a:solidFill>
                  <a:schemeClr val="accent6"/>
                </a:solidFill>
                <a:latin typeface="Calibri"/>
                <a:cs typeface="Calibri"/>
              </a:rPr>
              <a:t>State Secretariat for Digitalization and Artificial Intelligence</a:t>
            </a:r>
            <a:endParaRPr lang="en-GB" sz="1400" dirty="0">
              <a:solidFill>
                <a:schemeClr val="accent6"/>
              </a:solidFill>
              <a:latin typeface="Calibri"/>
              <a:ea typeface="Calibri"/>
              <a:cs typeface="Calibri"/>
            </a:endParaRPr>
          </a:p>
          <a:p>
            <a:pPr algn="r">
              <a:lnSpc>
                <a:spcPct val="90000"/>
              </a:lnSpc>
              <a:defRPr/>
            </a:pPr>
            <a:r>
              <a:rPr lang="en-GB" sz="1400" dirty="0">
                <a:solidFill>
                  <a:schemeClr val="accent6"/>
                </a:solidFill>
                <a:latin typeface="Calibri"/>
                <a:cs typeface="Calibri"/>
              </a:rPr>
              <a:t>Ministry</a:t>
            </a:r>
            <a:r>
              <a:rPr lang="en-GB" sz="1600" b="1" dirty="0">
                <a:solidFill>
                  <a:schemeClr val="accent6"/>
                </a:solidFill>
                <a:latin typeface="Calibri"/>
                <a:cs typeface="Calibri"/>
              </a:rPr>
              <a:t> </a:t>
            </a:r>
            <a:r>
              <a:rPr lang="en-GB" sz="1400" dirty="0">
                <a:solidFill>
                  <a:schemeClr val="accent6"/>
                </a:solidFill>
                <a:latin typeface="Calibri"/>
                <a:cs typeface="Calibri"/>
              </a:rPr>
              <a:t>of</a:t>
            </a:r>
            <a:r>
              <a:rPr lang="en-GB" sz="1600" b="1" dirty="0">
                <a:solidFill>
                  <a:schemeClr val="accent6"/>
                </a:solidFill>
                <a:latin typeface="Calibri"/>
                <a:cs typeface="Calibri"/>
              </a:rPr>
              <a:t> </a:t>
            </a:r>
            <a:r>
              <a:rPr lang="en-GB" sz="1400" dirty="0">
                <a:solidFill>
                  <a:schemeClr val="accent6"/>
                </a:solidFill>
                <a:latin typeface="Calibri"/>
                <a:cs typeface="Calibri"/>
              </a:rPr>
              <a:t>Economic</a:t>
            </a:r>
            <a:r>
              <a:rPr lang="en-GB" sz="1600" b="1" dirty="0">
                <a:solidFill>
                  <a:schemeClr val="accent6"/>
                </a:solidFill>
                <a:latin typeface="Calibri"/>
                <a:cs typeface="Calibri"/>
              </a:rPr>
              <a:t> </a:t>
            </a:r>
            <a:r>
              <a:rPr lang="en-GB" sz="1400" dirty="0">
                <a:solidFill>
                  <a:schemeClr val="accent6"/>
                </a:solidFill>
                <a:latin typeface="Calibri"/>
                <a:cs typeface="Calibri"/>
              </a:rPr>
              <a:t>Affairs</a:t>
            </a:r>
            <a:r>
              <a:rPr lang="en-GB" sz="1600" b="1" dirty="0">
                <a:solidFill>
                  <a:schemeClr val="accent6"/>
                </a:solidFill>
                <a:latin typeface="Calibri"/>
                <a:cs typeface="Calibri"/>
              </a:rPr>
              <a:t> </a:t>
            </a:r>
            <a:r>
              <a:rPr lang="en-GB" sz="1400" dirty="0">
                <a:solidFill>
                  <a:schemeClr val="accent6"/>
                </a:solidFill>
                <a:latin typeface="Calibri"/>
                <a:cs typeface="Calibri"/>
              </a:rPr>
              <a:t>and</a:t>
            </a:r>
            <a:r>
              <a:rPr lang="en-GB" sz="1600" b="1" dirty="0">
                <a:solidFill>
                  <a:schemeClr val="accent6"/>
                </a:solidFill>
                <a:latin typeface="Calibri"/>
                <a:cs typeface="Calibri"/>
              </a:rPr>
              <a:t> </a:t>
            </a:r>
            <a:r>
              <a:rPr lang="en-GB" sz="1400" dirty="0">
                <a:solidFill>
                  <a:schemeClr val="accent6"/>
                </a:solidFill>
                <a:latin typeface="Calibri"/>
                <a:cs typeface="Calibri"/>
              </a:rPr>
              <a:t>Digital</a:t>
            </a:r>
            <a:r>
              <a:rPr lang="en-GB" sz="1600" b="1" dirty="0">
                <a:solidFill>
                  <a:schemeClr val="accent6"/>
                </a:solidFill>
                <a:latin typeface="Calibri"/>
                <a:cs typeface="Calibri"/>
              </a:rPr>
              <a:t> </a:t>
            </a:r>
            <a:r>
              <a:rPr lang="en-GB" sz="1400" dirty="0">
                <a:solidFill>
                  <a:schemeClr val="accent6"/>
                </a:solidFill>
                <a:latin typeface="Calibri"/>
                <a:cs typeface="Calibri"/>
              </a:rPr>
              <a:t>Transformation</a:t>
            </a:r>
            <a:endParaRPr lang="en-GB" sz="1400" dirty="0">
              <a:solidFill>
                <a:schemeClr val="accent6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6" name="Marcador de contenido 4" descr="Free vector graphic: Vitruvian Man, Anatomy, Science - Free Image on ...">
            <a:extLst>
              <a:ext uri="{FF2B5EF4-FFF2-40B4-BE49-F238E27FC236}">
                <a16:creationId xmlns:a16="http://schemas.microsoft.com/office/drawing/2014/main" id="{63DC0B7B-4B9E-313F-522A-3E883DC85B5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lasticWrap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0008" y="371047"/>
            <a:ext cx="3609206" cy="38426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CuadroTexto 5">
            <a:extLst>
              <a:ext uri="{FF2B5EF4-FFF2-40B4-BE49-F238E27FC236}">
                <a16:creationId xmlns:a16="http://schemas.microsoft.com/office/drawing/2014/main" id="{972F8CFE-4F04-F2A2-1874-DDC8C638F6F8}"/>
              </a:ext>
            </a:extLst>
          </p:cNvPr>
          <p:cNvSpPr txBox="1"/>
          <p:nvPr/>
        </p:nvSpPr>
        <p:spPr>
          <a:xfrm>
            <a:off x="323221" y="4083480"/>
            <a:ext cx="4978958" cy="14465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GB" sz="4400" b="1" dirty="0">
                <a:latin typeface="Copperplate Gothic Light"/>
                <a:cs typeface="Calibri"/>
              </a:rPr>
              <a:t>Human-centred technologies</a:t>
            </a:r>
            <a:endParaRPr lang="en-GB" sz="4400" b="1" dirty="0">
              <a:latin typeface="Copperplate Gothic Ligh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4BD3B5-A85D-D7F4-62DE-1AB7766FD3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28170" y="6113907"/>
            <a:ext cx="2188845" cy="598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48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Plan_v0">
  <a:themeElements>
    <a:clrScheme name="SGAD Identidad visual 2021">
      <a:dk1>
        <a:srgbClr val="4E4E4E"/>
      </a:dk1>
      <a:lt1>
        <a:srgbClr val="FFFFFF"/>
      </a:lt1>
      <a:dk2>
        <a:srgbClr val="FFFFFF"/>
      </a:dk2>
      <a:lt2>
        <a:srgbClr val="3687AC"/>
      </a:lt2>
      <a:accent1>
        <a:srgbClr val="EFD329"/>
      </a:accent1>
      <a:accent2>
        <a:srgbClr val="48C0E4"/>
      </a:accent2>
      <a:accent3>
        <a:srgbClr val="8B103E"/>
      </a:accent3>
      <a:accent4>
        <a:srgbClr val="65A0B3"/>
      </a:accent4>
      <a:accent5>
        <a:srgbClr val="3B3B3B"/>
      </a:accent5>
      <a:accent6>
        <a:srgbClr val="064F7C"/>
      </a:accent6>
      <a:hlink>
        <a:srgbClr val="3687AC"/>
      </a:hlink>
      <a:folHlink>
        <a:srgbClr val="48C0E4"/>
      </a:folHlink>
    </a:clrScheme>
    <a:fontScheme name="Sgad titulo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290C49496BF484D833EA2E79B1AF11D" ma:contentTypeVersion="10" ma:contentTypeDescription="Crear nuevo documento." ma:contentTypeScope="" ma:versionID="20da8bb7a7f4c9c2e8b61e878ac7137d">
  <xsd:schema xmlns:xsd="http://www.w3.org/2001/XMLSchema" xmlns:xs="http://www.w3.org/2001/XMLSchema" xmlns:p="http://schemas.microsoft.com/office/2006/metadata/properties" xmlns:ns2="a3d878be-c9bf-4edf-9d4d-2726053914c1" xmlns:ns3="89d30131-13d8-4fba-b5d5-21b7718c6f15" targetNamespace="http://schemas.microsoft.com/office/2006/metadata/properties" ma:root="true" ma:fieldsID="c80f23f47700e0e7e4350a679f597ec8" ns2:_="" ns3:_="">
    <xsd:import namespace="a3d878be-c9bf-4edf-9d4d-2726053914c1"/>
    <xsd:import namespace="89d30131-13d8-4fba-b5d5-21b7718c6f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878be-c9bf-4edf-9d4d-2726053914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dea7e4b4-080f-4af5-898c-d5b6bd791ef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d30131-13d8-4fba-b5d5-21b7718c6f15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fcf6f475-39d9-4cd1-904d-fe6d6914737f}" ma:internalName="TaxCatchAll" ma:showField="CatchAllData" ma:web="89d30131-13d8-4fba-b5d5-21b7718c6f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3d878be-c9bf-4edf-9d4d-2726053914c1">
      <Terms xmlns="http://schemas.microsoft.com/office/infopath/2007/PartnerControls"/>
    </lcf76f155ced4ddcb4097134ff3c332f>
    <TaxCatchAll xmlns="89d30131-13d8-4fba-b5d5-21b7718c6f1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8170FD-8969-4253-83D5-70F534B3C1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d878be-c9bf-4edf-9d4d-2726053914c1"/>
    <ds:schemaRef ds:uri="89d30131-13d8-4fba-b5d5-21b7718c6f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339E4D1-28CA-40C8-A2E8-67EB8BECBFE7}">
  <ds:schemaRefs>
    <ds:schemaRef ds:uri="http://purl.org/dc/terms/"/>
    <ds:schemaRef ds:uri="a3d878be-c9bf-4edf-9d4d-2726053914c1"/>
    <ds:schemaRef ds:uri="http://schemas.microsoft.com/office/infopath/2007/PartnerControls"/>
    <ds:schemaRef ds:uri="89d30131-13d8-4fba-b5d5-21b7718c6f15"/>
    <ds:schemaRef ds:uri="http://www.w3.org/XML/1998/namespace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2525339-D4ED-4CA1-A46F-F5DCA247A03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bonito</Template>
  <TotalTime>263</TotalTime>
  <Words>308</Words>
  <Application>Microsoft Office PowerPoint</Application>
  <PresentationFormat>Panorámica</PresentationFormat>
  <Paragraphs>97</Paragraphs>
  <Slides>8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9" baseType="lpstr">
      <vt:lpstr>ADLaM Display</vt:lpstr>
      <vt:lpstr>Amasis MT Pro Black</vt:lpstr>
      <vt:lpstr>Arial</vt:lpstr>
      <vt:lpstr>Arial,Sans-Serif</vt:lpstr>
      <vt:lpstr>Bariol Bold</vt:lpstr>
      <vt:lpstr>Bariol Regular</vt:lpstr>
      <vt:lpstr>Calibri</vt:lpstr>
      <vt:lpstr>Consolas</vt:lpstr>
      <vt:lpstr>Copperplate Gothic Light</vt:lpstr>
      <vt:lpstr>TemaPlan_v0</vt:lpstr>
      <vt:lpstr>Diapositiva de think-cell</vt:lpstr>
      <vt:lpstr>Presentación de PowerPoint</vt:lpstr>
      <vt:lpstr>WHAT WE HAVE IN MIND: THE SEMANTIC EXPERT VISION</vt:lpstr>
      <vt:lpstr>WHAT IS THE SEMANTIC WORK ABOUT</vt:lpstr>
      <vt:lpstr>EXPERTS ON THE KNOWLEDGE DOMAIN OF PUBLIC SERVICES</vt:lpstr>
      <vt:lpstr>FROM KNOWLEDGE TO FORMAL SPECIFICATION</vt:lpstr>
      <vt:lpstr>OBSTACLES IN DISCOVERY OF REUSABLE SEMANTIC ASSETS </vt:lpstr>
      <vt:lpstr>ToDo FOR DISCOVERY OF REUSABLE SEMANTIC ASSETS </vt:lpstr>
      <vt:lpstr>Thank you for your atten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a Diaz Villa</dc:creator>
  <cp:lastModifiedBy>ANA ROSA GUZMAN CARBONELL</cp:lastModifiedBy>
  <cp:revision>539</cp:revision>
  <cp:lastPrinted>2023-09-14T08:14:12Z</cp:lastPrinted>
  <dcterms:created xsi:type="dcterms:W3CDTF">2021-04-28T21:04:05Z</dcterms:created>
  <dcterms:modified xsi:type="dcterms:W3CDTF">2023-10-10T15:5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290C49496BF484D833EA2E79B1AF11D</vt:lpwstr>
  </property>
</Properties>
</file>